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F7E4_7F19EFAE.xml" ContentType="application/vnd.ms-powerpoint.comments+xml"/>
  <Override PartName="/ppt/tags/tag13.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comments/modernComment_7FFFF7EC_E4BCCA82.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1.xml" ContentType="application/vnd.openxmlformats-officedocument.drawingml.chart+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7" r:id="rId4"/>
  </p:sldMasterIdLst>
  <p:notesMasterIdLst>
    <p:notesMasterId r:id="rId24"/>
  </p:notesMasterIdLst>
  <p:sldIdLst>
    <p:sldId id="277" r:id="rId5"/>
    <p:sldId id="2147481569" r:id="rId6"/>
    <p:sldId id="2147481573" r:id="rId7"/>
    <p:sldId id="2147481568" r:id="rId8"/>
    <p:sldId id="2147481584" r:id="rId9"/>
    <p:sldId id="2147481572" r:id="rId10"/>
    <p:sldId id="2147482397" r:id="rId11"/>
    <p:sldId id="2147481580" r:id="rId12"/>
    <p:sldId id="2147481586" r:id="rId13"/>
    <p:sldId id="2128752582" r:id="rId14"/>
    <p:sldId id="2147481710" r:id="rId15"/>
    <p:sldId id="2147472403" r:id="rId16"/>
    <p:sldId id="2147482400" r:id="rId17"/>
    <p:sldId id="2147482398" r:id="rId18"/>
    <p:sldId id="2147482399" r:id="rId19"/>
    <p:sldId id="842" r:id="rId20"/>
    <p:sldId id="874" r:id="rId21"/>
    <p:sldId id="263" r:id="rId22"/>
    <p:sldId id="270" r:id="rId2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9FC709-A7B1-0125-E752-1093474DBB4F}" name="Goodman, Samuel" initials="SG" userId="S::samuel.goodman@hq.doe.gov::8e32df2b-5a4b-40b5-832a-7a81e5701d0a" providerId="AD"/>
  <p188:author id="{EAC91130-77CA-44B0-4C7B-9C040093B22E}" name="Francis, Julieta" initials="FJ" userId="S::julieta.francis@hq.doe.gov::9036b28d-1e35-4230-b0a9-ad9a5b8c5099" providerId="AD"/>
  <p188:author id="{2E4B5934-3CAD-EABF-BEC4-348B85C7A55B}" name="Nick Fryer" initials="NF" userId="S::nick.fryer@keylogic.com::47553ffa-4267-4a2c-885f-fe9054b22735" providerId="AD"/>
  <p188:author id="{C82F6F35-76BD-F513-E65E-FDFC59EBECB5}" name="Parrish, Chloe" initials="PC" userId="S::chloe.parrish@hq.doe.gov::a568df64-0443-4a3f-9c28-f64820f5afe5" providerId="AD"/>
  <p188:author id="{C5A07D3C-1BA8-0C12-7400-1295955E888B}" name="Castro, Virginia" initials="VC" userId="S::virginia.castro@hq.doe.gov::f6404599-d04b-4afa-9f68-fc2952eeaa33" providerId="AD"/>
  <p188:author id="{2FD0FE5F-1C3E-8CF5-83E1-1422F5121636}" name="Levin, Joseph" initials="LJ" userId="S::joseph.levin@hq.doe.gov::ed144afc-c50f-4404-a2a3-6d9871a85f66" providerId="AD"/>
  <p188:author id="{85881368-468F-B2AB-89BC-6277399082CD}" name="Haubenstock, Arthur (ME)" initials="H(" userId="S::arthur.haubenstock@hq.doe.gov::ab753b58-b177-4245-845a-e3f4dbd1c9be" providerId="AD"/>
  <p188:author id="{97137071-E728-5A9C-6AFD-09F9FE6BF747}" name="Siccardo, Giulia" initials="SG" userId="S::giulia.siccardo@hq.doe.gov::f3f3e633-630e-4c10-8166-129322b217b4" providerId="AD"/>
  <p188:author id="{A441B086-597E-D838-6122-B1C721B021A6}" name="Swanson, Frances" initials="SF" userId="S::frances.swanson@hq.doe.gov::bbb046d0-cd08-4d2b-bd56-dc18766ad0c0" providerId="AD"/>
  <p188:author id="{85541998-7AA1-069A-660D-4FBE6821A747}" name="Ricketts, Shauna (CONTR)" initials="" userId="S::shauna.ricketts@hq.doe.gov::453e9a81-143d-4747-898a-cda6686fe3d6" providerId="AD"/>
  <p188:author id="{CA139A9B-F83E-B5DA-900C-9DBB04F934B0}" name="Overking, Nicole" initials="ON" userId="Overking, Nicole" providerId="None"/>
  <p188:author id="{7D21419F-C602-D87E-AE6B-E0B41B4EB096}" name="Jennings, Stephanie (ME)" initials="SJ" userId="S::stephanie.jennings2@hq.doe.gov::cae05ffc-2b7d-4758-a51b-b1fcf04da5fa" providerId="AD"/>
  <p188:author id="{3AD68BB0-CB71-62AD-41B4-1F77A0154423}" name="Galarza, Bianca" initials="GB" userId="S::bianca.galarza@hq.doe.gov::fe59ca9c-2bbe-450d-933e-a7abeb386909" providerId="AD"/>
  <p188:author id="{0FB6C1B7-9F64-1F45-160E-3906592E3D59}" name="Bezanson, Connie" initials="BC" userId="S::connie.bezanson@hq.doe.gov::ea166c7f-4d1c-4656-a85f-91d08def62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FFB"/>
    <a:srgbClr val="FF40FF"/>
    <a:srgbClr val="009900"/>
    <a:srgbClr val="166554"/>
    <a:srgbClr val="349290"/>
    <a:srgbClr val="25ABDF"/>
    <a:srgbClr val="2262B0"/>
    <a:srgbClr val="2160AC"/>
    <a:srgbClr val="215FAB"/>
    <a:srgbClr val="215F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322270-4546-4C3D-A552-8C8E437056AF}" v="190" dt="2024-10-23T17:19:08.6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93"/>
    <p:restoredTop sz="94816" autoAdjust="0"/>
  </p:normalViewPr>
  <p:slideViewPr>
    <p:cSldViewPr snapToGrid="0">
      <p:cViewPr varScale="1">
        <p:scale>
          <a:sx n="60" d="100"/>
          <a:sy n="60" d="100"/>
        </p:scale>
        <p:origin x="1156" y="68"/>
      </p:cViewPr>
      <p:guideLst>
        <p:guide orient="horz" pos="2160"/>
        <p:guide pos="3840"/>
      </p:guideLst>
    </p:cSldViewPr>
  </p:slideViewPr>
  <p:notesTextViewPr>
    <p:cViewPr>
      <p:scale>
        <a:sx n="55" d="100"/>
        <a:sy n="55" d="100"/>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is, Julieta" userId="S::julieta.francis@hq.doe.gov::9036b28d-1e35-4230-b0a9-ad9a5b8c5099" providerId="AD" clId="Web-{DA3FC516-8EBC-3D04-DDF5-2C8E654962D6}"/>
    <pc:docChg chg="addSld modSld">
      <pc:chgData name="Francis, Julieta" userId="S::julieta.francis@hq.doe.gov::9036b28d-1e35-4230-b0a9-ad9a5b8c5099" providerId="AD" clId="Web-{DA3FC516-8EBC-3D04-DDF5-2C8E654962D6}" dt="2024-10-18T19:46:48.583" v="10"/>
      <pc:docMkLst>
        <pc:docMk/>
      </pc:docMkLst>
      <pc:sldChg chg="addSp delSp modSp add mod modClrScheme chgLayout">
        <pc:chgData name="Francis, Julieta" userId="S::julieta.francis@hq.doe.gov::9036b28d-1e35-4230-b0a9-ad9a5b8c5099" providerId="AD" clId="Web-{DA3FC516-8EBC-3D04-DDF5-2C8E654962D6}" dt="2024-10-18T19:46:26.755" v="8" actId="14100"/>
        <pc:sldMkLst>
          <pc:docMk/>
          <pc:sldMk cId="3287332881" sldId="2147482398"/>
        </pc:sldMkLst>
        <pc:spChg chg="mod ord">
          <ac:chgData name="Francis, Julieta" userId="S::julieta.francis@hq.doe.gov::9036b28d-1e35-4230-b0a9-ad9a5b8c5099" providerId="AD" clId="Web-{DA3FC516-8EBC-3D04-DDF5-2C8E654962D6}" dt="2024-10-18T19:45:52.958" v="2"/>
          <ac:spMkLst>
            <pc:docMk/>
            <pc:sldMk cId="3287332881" sldId="2147482398"/>
            <ac:spMk id="3" creationId="{CA7071E0-2290-7F61-0929-76C9B11528EE}"/>
          </ac:spMkLst>
        </pc:spChg>
        <pc:spChg chg="mod ord">
          <ac:chgData name="Francis, Julieta" userId="S::julieta.francis@hq.doe.gov::9036b28d-1e35-4230-b0a9-ad9a5b8c5099" providerId="AD" clId="Web-{DA3FC516-8EBC-3D04-DDF5-2C8E654962D6}" dt="2024-10-18T19:45:52.958" v="2"/>
          <ac:spMkLst>
            <pc:docMk/>
            <pc:sldMk cId="3287332881" sldId="2147482398"/>
            <ac:spMk id="4" creationId="{8E1601C3-2BA2-74F1-D7CB-09D88E87A731}"/>
          </ac:spMkLst>
        </pc:spChg>
        <pc:spChg chg="add del mod">
          <ac:chgData name="Francis, Julieta" userId="S::julieta.francis@hq.doe.gov::9036b28d-1e35-4230-b0a9-ad9a5b8c5099" providerId="AD" clId="Web-{DA3FC516-8EBC-3D04-DDF5-2C8E654962D6}" dt="2024-10-18T19:46:14.442" v="4"/>
          <ac:spMkLst>
            <pc:docMk/>
            <pc:sldMk cId="3287332881" sldId="2147482398"/>
            <ac:spMk id="6" creationId="{EF85EFC3-88DF-93F5-C3EB-4CA4CC59926A}"/>
          </ac:spMkLst>
        </pc:spChg>
        <pc:picChg chg="del mod ord">
          <ac:chgData name="Francis, Julieta" userId="S::julieta.francis@hq.doe.gov::9036b28d-1e35-4230-b0a9-ad9a5b8c5099" providerId="AD" clId="Web-{DA3FC516-8EBC-3D04-DDF5-2C8E654962D6}" dt="2024-10-18T19:46:02.974" v="3"/>
          <ac:picMkLst>
            <pc:docMk/>
            <pc:sldMk cId="3287332881" sldId="2147482398"/>
            <ac:picMk id="2" creationId="{55A91661-E048-B40A-9998-723C2E1126F3}"/>
          </ac:picMkLst>
        </pc:picChg>
        <pc:picChg chg="add mod">
          <ac:chgData name="Francis, Julieta" userId="S::julieta.francis@hq.doe.gov::9036b28d-1e35-4230-b0a9-ad9a5b8c5099" providerId="AD" clId="Web-{DA3FC516-8EBC-3D04-DDF5-2C8E654962D6}" dt="2024-10-18T19:46:26.755" v="8" actId="14100"/>
          <ac:picMkLst>
            <pc:docMk/>
            <pc:sldMk cId="3287332881" sldId="2147482398"/>
            <ac:picMk id="12" creationId="{AA901783-CB01-D026-194F-3185DC77B10C}"/>
          </ac:picMkLst>
        </pc:picChg>
      </pc:sldChg>
      <pc:sldChg chg="addSp delSp modSp add mod modClrScheme chgLayout">
        <pc:chgData name="Francis, Julieta" userId="S::julieta.francis@hq.doe.gov::9036b28d-1e35-4230-b0a9-ad9a5b8c5099" providerId="AD" clId="Web-{DA3FC516-8EBC-3D04-DDF5-2C8E654962D6}" dt="2024-10-18T19:46:48.583" v="10"/>
        <pc:sldMkLst>
          <pc:docMk/>
          <pc:sldMk cId="3330815321" sldId="2147482399"/>
        </pc:sldMkLst>
        <pc:spChg chg="add del mod ord">
          <ac:chgData name="Francis, Julieta" userId="S::julieta.francis@hq.doe.gov::9036b28d-1e35-4230-b0a9-ad9a5b8c5099" providerId="AD" clId="Web-{DA3FC516-8EBC-3D04-DDF5-2C8E654962D6}" dt="2024-10-18T19:46:48.583" v="10"/>
          <ac:spMkLst>
            <pc:docMk/>
            <pc:sldMk cId="3330815321" sldId="2147482399"/>
            <ac:spMk id="2" creationId="{82ECD179-8724-10A9-5D3B-31F46A542F3C}"/>
          </ac:spMkLst>
        </pc:spChg>
        <pc:spChg chg="mod ord">
          <ac:chgData name="Francis, Julieta" userId="S::julieta.francis@hq.doe.gov::9036b28d-1e35-4230-b0a9-ad9a5b8c5099" providerId="AD" clId="Web-{DA3FC516-8EBC-3D04-DDF5-2C8E654962D6}" dt="2024-10-18T19:46:44.302" v="9"/>
          <ac:spMkLst>
            <pc:docMk/>
            <pc:sldMk cId="3330815321" sldId="2147482399"/>
            <ac:spMk id="3" creationId="{52A818D2-86FF-C45F-2636-DC299DAA1A1C}"/>
          </ac:spMkLst>
        </pc:spChg>
      </pc:sldChg>
    </pc:docChg>
  </pc:docChgLst>
  <pc:docChgLst>
    <pc:chgData name="Francis, Julieta" userId="S::julieta.francis@hq.doe.gov::9036b28d-1e35-4230-b0a9-ad9a5b8c5099" providerId="AD" clId="Web-{77906917-85CD-CADC-84A1-AA10F476CB8A}"/>
    <pc:docChg chg="mod">
      <pc:chgData name="Francis, Julieta" userId="S::julieta.francis@hq.doe.gov::9036b28d-1e35-4230-b0a9-ad9a5b8c5099" providerId="AD" clId="Web-{77906917-85CD-CADC-84A1-AA10F476CB8A}" dt="2024-10-18T01:45:16.986" v="0"/>
      <pc:docMkLst>
        <pc:docMk/>
      </pc:docMkLst>
    </pc:docChg>
  </pc:docChgLst>
  <pc:docChgLst>
    <pc:chgData name="Jennings, Stephanie (ME)" userId="cae05ffc-2b7d-4758-a51b-b1fcf04da5fa" providerId="ADAL" clId="{8B322270-4546-4C3D-A552-8C8E437056AF}"/>
    <pc:docChg chg="undo redo custSel addSld delSld modSld sldOrd">
      <pc:chgData name="Jennings, Stephanie (ME)" userId="cae05ffc-2b7d-4758-a51b-b1fcf04da5fa" providerId="ADAL" clId="{8B322270-4546-4C3D-A552-8C8E437056AF}" dt="2024-10-23T17:19:08.629" v="828"/>
      <pc:docMkLst>
        <pc:docMk/>
      </pc:docMkLst>
      <pc:sldChg chg="addSp delSp modSp mod modClrScheme chgLayout">
        <pc:chgData name="Jennings, Stephanie (ME)" userId="cae05ffc-2b7d-4758-a51b-b1fcf04da5fa" providerId="ADAL" clId="{8B322270-4546-4C3D-A552-8C8E437056AF}" dt="2024-10-20T17:08:46.914" v="742" actId="478"/>
        <pc:sldMkLst>
          <pc:docMk/>
          <pc:sldMk cId="1037680498" sldId="842"/>
        </pc:sldMkLst>
        <pc:spChg chg="mod ord">
          <ac:chgData name="Jennings, Stephanie (ME)" userId="cae05ffc-2b7d-4758-a51b-b1fcf04da5fa" providerId="ADAL" clId="{8B322270-4546-4C3D-A552-8C8E437056AF}" dt="2024-10-20T17:06:21.897" v="731" actId="700"/>
          <ac:spMkLst>
            <pc:docMk/>
            <pc:sldMk cId="1037680498" sldId="842"/>
            <ac:spMk id="2" creationId="{7DB6C1A4-5F40-D3A1-EFCA-A4734239BE80}"/>
          </ac:spMkLst>
        </pc:spChg>
        <pc:spChg chg="add del mod ord">
          <ac:chgData name="Jennings, Stephanie (ME)" userId="cae05ffc-2b7d-4758-a51b-b1fcf04da5fa" providerId="ADAL" clId="{8B322270-4546-4C3D-A552-8C8E437056AF}" dt="2024-10-20T17:06:30.064" v="732" actId="478"/>
          <ac:spMkLst>
            <pc:docMk/>
            <pc:sldMk cId="1037680498" sldId="842"/>
            <ac:spMk id="3" creationId="{7FB05A49-6B57-25BF-1CCF-6480D147B91A}"/>
          </ac:spMkLst>
        </pc:spChg>
        <pc:spChg chg="del mod ord">
          <ac:chgData name="Jennings, Stephanie (ME)" userId="cae05ffc-2b7d-4758-a51b-b1fcf04da5fa" providerId="ADAL" clId="{8B322270-4546-4C3D-A552-8C8E437056AF}" dt="2024-10-20T17:08:46.914" v="742" actId="478"/>
          <ac:spMkLst>
            <pc:docMk/>
            <pc:sldMk cId="1037680498" sldId="842"/>
            <ac:spMk id="10" creationId="{E7CE18A5-C0C6-C49D-A509-A5034C464046}"/>
          </ac:spMkLst>
        </pc:spChg>
      </pc:sldChg>
      <pc:sldChg chg="del">
        <pc:chgData name="Jennings, Stephanie (ME)" userId="cae05ffc-2b7d-4758-a51b-b1fcf04da5fa" providerId="ADAL" clId="{8B322270-4546-4C3D-A552-8C8E437056AF}" dt="2024-10-18T18:59:00.457" v="490" actId="47"/>
        <pc:sldMkLst>
          <pc:docMk/>
          <pc:sldMk cId="2750835588" sldId="2758"/>
        </pc:sldMkLst>
      </pc:sldChg>
      <pc:sldChg chg="delSp modSp mod">
        <pc:chgData name="Jennings, Stephanie (ME)" userId="cae05ffc-2b7d-4758-a51b-b1fcf04da5fa" providerId="ADAL" clId="{8B322270-4546-4C3D-A552-8C8E437056AF}" dt="2024-10-20T15:40:59.713" v="522" actId="478"/>
        <pc:sldMkLst>
          <pc:docMk/>
          <pc:sldMk cId="3927672618" sldId="2128752582"/>
        </pc:sldMkLst>
        <pc:spChg chg="del mod">
          <ac:chgData name="Jennings, Stephanie (ME)" userId="cae05ffc-2b7d-4758-a51b-b1fcf04da5fa" providerId="ADAL" clId="{8B322270-4546-4C3D-A552-8C8E437056AF}" dt="2024-10-20T15:40:59.713" v="522" actId="478"/>
          <ac:spMkLst>
            <pc:docMk/>
            <pc:sldMk cId="3927672618" sldId="2128752582"/>
            <ac:spMk id="5" creationId="{0BEDCCAC-C384-FCD2-9C01-4E59A21554FA}"/>
          </ac:spMkLst>
        </pc:spChg>
        <pc:graphicFrameChg chg="mod">
          <ac:chgData name="Jennings, Stephanie (ME)" userId="cae05ffc-2b7d-4758-a51b-b1fcf04da5fa" providerId="ADAL" clId="{8B322270-4546-4C3D-A552-8C8E437056AF}" dt="2024-10-17T22:32:53.945" v="359" actId="20577"/>
          <ac:graphicFrameMkLst>
            <pc:docMk/>
            <pc:sldMk cId="3927672618" sldId="2128752582"/>
            <ac:graphicFrameMk id="6" creationId="{991CA4A7-9E4D-07C8-1E61-E71649345471}"/>
          </ac:graphicFrameMkLst>
        </pc:graphicFrameChg>
      </pc:sldChg>
      <pc:sldChg chg="addSp delSp modSp mod modClrScheme chgLayout">
        <pc:chgData name="Jennings, Stephanie (ME)" userId="cae05ffc-2b7d-4758-a51b-b1fcf04da5fa" providerId="ADAL" clId="{8B322270-4546-4C3D-A552-8C8E437056AF}" dt="2024-10-23T17:07:58.360" v="772" actId="478"/>
        <pc:sldMkLst>
          <pc:docMk/>
          <pc:sldMk cId="283671815" sldId="2147472403"/>
        </pc:sldMkLst>
        <pc:spChg chg="add del mod ord">
          <ac:chgData name="Jennings, Stephanie (ME)" userId="cae05ffc-2b7d-4758-a51b-b1fcf04da5fa" providerId="ADAL" clId="{8B322270-4546-4C3D-A552-8C8E437056AF}" dt="2024-10-23T17:07:58.360" v="772" actId="478"/>
          <ac:spMkLst>
            <pc:docMk/>
            <pc:sldMk cId="283671815" sldId="2147472403"/>
            <ac:spMk id="2" creationId="{C806B1D5-5D09-7912-8490-ABE508001A2A}"/>
          </ac:spMkLst>
        </pc:spChg>
        <pc:spChg chg="del mod ord">
          <ac:chgData name="Jennings, Stephanie (ME)" userId="cae05ffc-2b7d-4758-a51b-b1fcf04da5fa" providerId="ADAL" clId="{8B322270-4546-4C3D-A552-8C8E437056AF}" dt="2024-10-20T17:07:34.476" v="739" actId="478"/>
          <ac:spMkLst>
            <pc:docMk/>
            <pc:sldMk cId="283671815" sldId="2147472403"/>
            <ac:spMk id="4" creationId="{5BBF8CC1-3FE0-E60F-8896-5F92CFEB50EE}"/>
          </ac:spMkLst>
        </pc:spChg>
        <pc:spChg chg="mod ord">
          <ac:chgData name="Jennings, Stephanie (ME)" userId="cae05ffc-2b7d-4758-a51b-b1fcf04da5fa" providerId="ADAL" clId="{8B322270-4546-4C3D-A552-8C8E437056AF}" dt="2024-10-20T17:06:00.823" v="729" actId="700"/>
          <ac:spMkLst>
            <pc:docMk/>
            <pc:sldMk cId="283671815" sldId="2147472403"/>
            <ac:spMk id="11" creationId="{2E497F07-A232-DF23-361D-392ABC3AEC9B}"/>
          </ac:spMkLst>
        </pc:spChg>
        <pc:spChg chg="mod">
          <ac:chgData name="Jennings, Stephanie (ME)" userId="cae05ffc-2b7d-4758-a51b-b1fcf04da5fa" providerId="ADAL" clId="{8B322270-4546-4C3D-A552-8C8E437056AF}" dt="2024-10-20T17:00:37.594" v="703" actId="1076"/>
          <ac:spMkLst>
            <pc:docMk/>
            <pc:sldMk cId="283671815" sldId="2147472403"/>
            <ac:spMk id="13" creationId="{79D92F60-6D64-61B3-B88B-E96355DD58D9}"/>
          </ac:spMkLst>
        </pc:spChg>
        <pc:spChg chg="mod">
          <ac:chgData name="Jennings, Stephanie (ME)" userId="cae05ffc-2b7d-4758-a51b-b1fcf04da5fa" providerId="ADAL" clId="{8B322270-4546-4C3D-A552-8C8E437056AF}" dt="2024-10-20T17:00:37.594" v="703" actId="1076"/>
          <ac:spMkLst>
            <pc:docMk/>
            <pc:sldMk cId="283671815" sldId="2147472403"/>
            <ac:spMk id="14" creationId="{AA9D175D-BC75-6BE6-FFFB-C0867B36CC63}"/>
          </ac:spMkLst>
        </pc:spChg>
        <pc:spChg chg="mod">
          <ac:chgData name="Jennings, Stephanie (ME)" userId="cae05ffc-2b7d-4758-a51b-b1fcf04da5fa" providerId="ADAL" clId="{8B322270-4546-4C3D-A552-8C8E437056AF}" dt="2024-10-20T17:00:37.594" v="703" actId="1076"/>
          <ac:spMkLst>
            <pc:docMk/>
            <pc:sldMk cId="283671815" sldId="2147472403"/>
            <ac:spMk id="15" creationId="{28079B96-C96B-B9A5-F3F1-EEC6621FEF3B}"/>
          </ac:spMkLst>
        </pc:spChg>
        <pc:spChg chg="mod">
          <ac:chgData name="Jennings, Stephanie (ME)" userId="cae05ffc-2b7d-4758-a51b-b1fcf04da5fa" providerId="ADAL" clId="{8B322270-4546-4C3D-A552-8C8E437056AF}" dt="2024-10-20T17:00:37.594" v="703" actId="1076"/>
          <ac:spMkLst>
            <pc:docMk/>
            <pc:sldMk cId="283671815" sldId="2147472403"/>
            <ac:spMk id="16" creationId="{4BE92ED6-4FF6-77C4-74A5-3F4D72564854}"/>
          </ac:spMkLst>
        </pc:spChg>
        <pc:spChg chg="mod">
          <ac:chgData name="Jennings, Stephanie (ME)" userId="cae05ffc-2b7d-4758-a51b-b1fcf04da5fa" providerId="ADAL" clId="{8B322270-4546-4C3D-A552-8C8E437056AF}" dt="2024-10-20T17:00:37.594" v="703" actId="1076"/>
          <ac:spMkLst>
            <pc:docMk/>
            <pc:sldMk cId="283671815" sldId="2147472403"/>
            <ac:spMk id="17" creationId="{B09A1343-4D1E-401A-26FC-44F0E7975397}"/>
          </ac:spMkLst>
        </pc:spChg>
        <pc:spChg chg="mod">
          <ac:chgData name="Jennings, Stephanie (ME)" userId="cae05ffc-2b7d-4758-a51b-b1fcf04da5fa" providerId="ADAL" clId="{8B322270-4546-4C3D-A552-8C8E437056AF}" dt="2024-10-20T17:00:37.594" v="703" actId="1076"/>
          <ac:spMkLst>
            <pc:docMk/>
            <pc:sldMk cId="283671815" sldId="2147472403"/>
            <ac:spMk id="18" creationId="{25962527-66CE-34F4-9F39-20F1FE69D127}"/>
          </ac:spMkLst>
        </pc:spChg>
        <pc:picChg chg="mod">
          <ac:chgData name="Jennings, Stephanie (ME)" userId="cae05ffc-2b7d-4758-a51b-b1fcf04da5fa" providerId="ADAL" clId="{8B322270-4546-4C3D-A552-8C8E437056AF}" dt="2024-10-20T17:00:37.594" v="703" actId="1076"/>
          <ac:picMkLst>
            <pc:docMk/>
            <pc:sldMk cId="283671815" sldId="2147472403"/>
            <ac:picMk id="6" creationId="{3E1ABBA6-9DBF-5CC4-0D44-29F9BF521191}"/>
          </ac:picMkLst>
        </pc:picChg>
      </pc:sldChg>
      <pc:sldChg chg="del">
        <pc:chgData name="Jennings, Stephanie (ME)" userId="cae05ffc-2b7d-4758-a51b-b1fcf04da5fa" providerId="ADAL" clId="{8B322270-4546-4C3D-A552-8C8E437056AF}" dt="2024-10-20T15:23:03.971" v="498" actId="47"/>
        <pc:sldMkLst>
          <pc:docMk/>
          <pc:sldMk cId="2277449699" sldId="2147481539"/>
        </pc:sldMkLst>
      </pc:sldChg>
      <pc:sldChg chg="del">
        <pc:chgData name="Jennings, Stephanie (ME)" userId="cae05ffc-2b7d-4758-a51b-b1fcf04da5fa" providerId="ADAL" clId="{8B322270-4546-4C3D-A552-8C8E437056AF}" dt="2024-10-18T18:58:59.625" v="489" actId="47"/>
        <pc:sldMkLst>
          <pc:docMk/>
          <pc:sldMk cId="3547517434" sldId="2147481565"/>
        </pc:sldMkLst>
      </pc:sldChg>
      <pc:sldChg chg="addSp delSp modSp mod modClrScheme chgLayout">
        <pc:chgData name="Jennings, Stephanie (ME)" userId="cae05ffc-2b7d-4758-a51b-b1fcf04da5fa" providerId="ADAL" clId="{8B322270-4546-4C3D-A552-8C8E437056AF}" dt="2024-10-20T17:07:04.821" v="736" actId="478"/>
        <pc:sldMkLst>
          <pc:docMk/>
          <pc:sldMk cId="185800228" sldId="2147481568"/>
        </pc:sldMkLst>
        <pc:spChg chg="mod ord">
          <ac:chgData name="Jennings, Stephanie (ME)" userId="cae05ffc-2b7d-4758-a51b-b1fcf04da5fa" providerId="ADAL" clId="{8B322270-4546-4C3D-A552-8C8E437056AF}" dt="2024-10-20T17:02:49.478" v="714" actId="700"/>
          <ac:spMkLst>
            <pc:docMk/>
            <pc:sldMk cId="185800228" sldId="2147481568"/>
            <ac:spMk id="2" creationId="{45CD4D9F-A3B5-2BFA-262D-12B5F7BE9986}"/>
          </ac:spMkLst>
        </pc:spChg>
        <pc:spChg chg="add del mod ord">
          <ac:chgData name="Jennings, Stephanie (ME)" userId="cae05ffc-2b7d-4758-a51b-b1fcf04da5fa" providerId="ADAL" clId="{8B322270-4546-4C3D-A552-8C8E437056AF}" dt="2024-10-20T17:02:52.717" v="715" actId="478"/>
          <ac:spMkLst>
            <pc:docMk/>
            <pc:sldMk cId="185800228" sldId="2147481568"/>
            <ac:spMk id="3" creationId="{DFEFD981-AA18-7457-24F6-55DE0AD5241E}"/>
          </ac:spMkLst>
        </pc:spChg>
        <pc:spChg chg="del mod ord">
          <ac:chgData name="Jennings, Stephanie (ME)" userId="cae05ffc-2b7d-4758-a51b-b1fcf04da5fa" providerId="ADAL" clId="{8B322270-4546-4C3D-A552-8C8E437056AF}" dt="2024-10-20T17:07:04.821" v="736" actId="478"/>
          <ac:spMkLst>
            <pc:docMk/>
            <pc:sldMk cId="185800228" sldId="2147481568"/>
            <ac:spMk id="8" creationId="{25A1EF36-026F-4F5B-AB81-4D76E4301120}"/>
          </ac:spMkLst>
        </pc:spChg>
      </pc:sldChg>
      <pc:sldChg chg="addSp delSp modSp mod modClrScheme chgLayout">
        <pc:chgData name="Jennings, Stephanie (ME)" userId="cae05ffc-2b7d-4758-a51b-b1fcf04da5fa" providerId="ADAL" clId="{8B322270-4546-4C3D-A552-8C8E437056AF}" dt="2024-10-20T17:06:52.252" v="734" actId="478"/>
        <pc:sldMkLst>
          <pc:docMk/>
          <pc:sldMk cId="1120705865" sldId="2147481569"/>
        </pc:sldMkLst>
        <pc:spChg chg="mod ord">
          <ac:chgData name="Jennings, Stephanie (ME)" userId="cae05ffc-2b7d-4758-a51b-b1fcf04da5fa" providerId="ADAL" clId="{8B322270-4546-4C3D-A552-8C8E437056AF}" dt="2024-10-20T17:02:05.715" v="708" actId="700"/>
          <ac:spMkLst>
            <pc:docMk/>
            <pc:sldMk cId="1120705865" sldId="2147481569"/>
            <ac:spMk id="2" creationId="{C9280E5B-53EE-F207-2A2F-E08A92547DF8}"/>
          </ac:spMkLst>
        </pc:spChg>
        <pc:spChg chg="del mod ord">
          <ac:chgData name="Jennings, Stephanie (ME)" userId="cae05ffc-2b7d-4758-a51b-b1fcf04da5fa" providerId="ADAL" clId="{8B322270-4546-4C3D-A552-8C8E437056AF}" dt="2024-10-20T17:06:52.252" v="734" actId="478"/>
          <ac:spMkLst>
            <pc:docMk/>
            <pc:sldMk cId="1120705865" sldId="2147481569"/>
            <ac:spMk id="4" creationId="{2396B00A-142C-C237-9BB0-B65C301E290A}"/>
          </ac:spMkLst>
        </pc:spChg>
        <pc:spChg chg="add del mod ord">
          <ac:chgData name="Jennings, Stephanie (ME)" userId="cae05ffc-2b7d-4758-a51b-b1fcf04da5fa" providerId="ADAL" clId="{8B322270-4546-4C3D-A552-8C8E437056AF}" dt="2024-10-20T17:01:43.363" v="705" actId="700"/>
          <ac:spMkLst>
            <pc:docMk/>
            <pc:sldMk cId="1120705865" sldId="2147481569"/>
            <ac:spMk id="7" creationId="{2C9CE6E4-FD77-7BC9-719F-38DBA66E3235}"/>
          </ac:spMkLst>
        </pc:spChg>
        <pc:spChg chg="add del mod ord">
          <ac:chgData name="Jennings, Stephanie (ME)" userId="cae05ffc-2b7d-4758-a51b-b1fcf04da5fa" providerId="ADAL" clId="{8B322270-4546-4C3D-A552-8C8E437056AF}" dt="2024-10-20T17:01:59.891" v="707" actId="700"/>
          <ac:spMkLst>
            <pc:docMk/>
            <pc:sldMk cId="1120705865" sldId="2147481569"/>
            <ac:spMk id="8" creationId="{7799A82B-63B3-5937-1689-D3E652BEDDD5}"/>
          </ac:spMkLst>
        </pc:spChg>
        <pc:spChg chg="add del mod ord">
          <ac:chgData name="Jennings, Stephanie (ME)" userId="cae05ffc-2b7d-4758-a51b-b1fcf04da5fa" providerId="ADAL" clId="{8B322270-4546-4C3D-A552-8C8E437056AF}" dt="2024-10-20T17:02:13.661" v="709" actId="478"/>
          <ac:spMkLst>
            <pc:docMk/>
            <pc:sldMk cId="1120705865" sldId="2147481569"/>
            <ac:spMk id="9" creationId="{33682515-399A-414D-C918-D3981F34CBAC}"/>
          </ac:spMkLst>
        </pc:spChg>
      </pc:sldChg>
      <pc:sldChg chg="addSp delSp modSp mod modClrScheme chgLayout">
        <pc:chgData name="Jennings, Stephanie (ME)" userId="cae05ffc-2b7d-4758-a51b-b1fcf04da5fa" providerId="ADAL" clId="{8B322270-4546-4C3D-A552-8C8E437056AF}" dt="2024-10-20T17:05:45.981" v="728" actId="700"/>
        <pc:sldMkLst>
          <pc:docMk/>
          <pc:sldMk cId="2132406190" sldId="2147481572"/>
        </pc:sldMkLst>
        <pc:spChg chg="add del mod ord">
          <ac:chgData name="Jennings, Stephanie (ME)" userId="cae05ffc-2b7d-4758-a51b-b1fcf04da5fa" providerId="ADAL" clId="{8B322270-4546-4C3D-A552-8C8E437056AF}" dt="2024-10-20T17:05:45.981" v="728" actId="700"/>
          <ac:spMkLst>
            <pc:docMk/>
            <pc:sldMk cId="2132406190" sldId="2147481572"/>
            <ac:spMk id="2" creationId="{89441AAA-7E53-EF0E-0678-4905CE251411}"/>
          </ac:spMkLst>
        </pc:spChg>
        <pc:spChg chg="mod">
          <ac:chgData name="Jennings, Stephanie (ME)" userId="cae05ffc-2b7d-4758-a51b-b1fcf04da5fa" providerId="ADAL" clId="{8B322270-4546-4C3D-A552-8C8E437056AF}" dt="2024-10-17T20:25:03.876" v="128" actId="108"/>
          <ac:spMkLst>
            <pc:docMk/>
            <pc:sldMk cId="2132406190" sldId="2147481572"/>
            <ac:spMk id="13" creationId="{A5474B38-4204-F2EA-DFE9-A551254A4ACE}"/>
          </ac:spMkLst>
        </pc:spChg>
        <pc:spChg chg="mod ord">
          <ac:chgData name="Jennings, Stephanie (ME)" userId="cae05ffc-2b7d-4758-a51b-b1fcf04da5fa" providerId="ADAL" clId="{8B322270-4546-4C3D-A552-8C8E437056AF}" dt="2024-10-20T17:05:45.981" v="728" actId="700"/>
          <ac:spMkLst>
            <pc:docMk/>
            <pc:sldMk cId="2132406190" sldId="2147481572"/>
            <ac:spMk id="14" creationId="{977DA83E-502C-FE9C-A64C-ED2BC2EF615E}"/>
          </ac:spMkLst>
        </pc:spChg>
        <pc:picChg chg="del">
          <ac:chgData name="Jennings, Stephanie (ME)" userId="cae05ffc-2b7d-4758-a51b-b1fcf04da5fa" providerId="ADAL" clId="{8B322270-4546-4C3D-A552-8C8E437056AF}" dt="2024-10-17T20:09:01.741" v="3" actId="478"/>
          <ac:picMkLst>
            <pc:docMk/>
            <pc:sldMk cId="2132406190" sldId="2147481572"/>
            <ac:picMk id="2" creationId="{332C58F5-1E83-5442-E75B-00C65C81EF7D}"/>
          </ac:picMkLst>
        </pc:picChg>
        <pc:picChg chg="add mod">
          <ac:chgData name="Jennings, Stephanie (ME)" userId="cae05ffc-2b7d-4758-a51b-b1fcf04da5fa" providerId="ADAL" clId="{8B322270-4546-4C3D-A552-8C8E437056AF}" dt="2024-10-17T20:16:20.925" v="16" actId="1076"/>
          <ac:picMkLst>
            <pc:docMk/>
            <pc:sldMk cId="2132406190" sldId="2147481572"/>
            <ac:picMk id="5" creationId="{44132B9A-309B-505F-6AD6-108DC4EE0D4E}"/>
          </ac:picMkLst>
        </pc:picChg>
        <pc:picChg chg="mod ord">
          <ac:chgData name="Jennings, Stephanie (ME)" userId="cae05ffc-2b7d-4758-a51b-b1fcf04da5fa" providerId="ADAL" clId="{8B322270-4546-4C3D-A552-8C8E437056AF}" dt="2024-10-17T20:16:17.726" v="15" actId="166"/>
          <ac:picMkLst>
            <pc:docMk/>
            <pc:sldMk cId="2132406190" sldId="2147481572"/>
            <ac:picMk id="12" creationId="{4839EB71-88EE-9CFC-FC71-0E766CC1A35C}"/>
          </ac:picMkLst>
        </pc:picChg>
      </pc:sldChg>
      <pc:sldChg chg="addSp delSp modSp mod modClrScheme chgLayout">
        <pc:chgData name="Jennings, Stephanie (ME)" userId="cae05ffc-2b7d-4758-a51b-b1fcf04da5fa" providerId="ADAL" clId="{8B322270-4546-4C3D-A552-8C8E437056AF}" dt="2024-10-20T17:06:59.886" v="735" actId="478"/>
        <pc:sldMkLst>
          <pc:docMk/>
          <pc:sldMk cId="1298233107" sldId="2147481573"/>
        </pc:sldMkLst>
        <pc:spChg chg="mod ord">
          <ac:chgData name="Jennings, Stephanie (ME)" userId="cae05ffc-2b7d-4758-a51b-b1fcf04da5fa" providerId="ADAL" clId="{8B322270-4546-4C3D-A552-8C8E437056AF}" dt="2024-10-20T17:02:37.648" v="712" actId="700"/>
          <ac:spMkLst>
            <pc:docMk/>
            <pc:sldMk cId="1298233107" sldId="2147481573"/>
            <ac:spMk id="2" creationId="{E689E7DC-6570-9449-9D9F-9AC02BAEB579}"/>
          </ac:spMkLst>
        </pc:spChg>
        <pc:spChg chg="add del mod ord">
          <ac:chgData name="Jennings, Stephanie (ME)" userId="cae05ffc-2b7d-4758-a51b-b1fcf04da5fa" providerId="ADAL" clId="{8B322270-4546-4C3D-A552-8C8E437056AF}" dt="2024-10-20T17:02:42.940" v="713" actId="478"/>
          <ac:spMkLst>
            <pc:docMk/>
            <pc:sldMk cId="1298233107" sldId="2147481573"/>
            <ac:spMk id="3" creationId="{903E721B-37E0-2D35-74D2-327DB555EE21}"/>
          </ac:spMkLst>
        </pc:spChg>
        <pc:spChg chg="del mod ord">
          <ac:chgData name="Jennings, Stephanie (ME)" userId="cae05ffc-2b7d-4758-a51b-b1fcf04da5fa" providerId="ADAL" clId="{8B322270-4546-4C3D-A552-8C8E437056AF}" dt="2024-10-20T17:06:59.886" v="735" actId="478"/>
          <ac:spMkLst>
            <pc:docMk/>
            <pc:sldMk cId="1298233107" sldId="2147481573"/>
            <ac:spMk id="9" creationId="{11C8CB32-FE97-BDEA-DC77-0802FA2E196A}"/>
          </ac:spMkLst>
        </pc:spChg>
      </pc:sldChg>
      <pc:sldChg chg="addSp delSp modSp mod modClrScheme chgLayout">
        <pc:chgData name="Jennings, Stephanie (ME)" userId="cae05ffc-2b7d-4758-a51b-b1fcf04da5fa" providerId="ADAL" clId="{8B322270-4546-4C3D-A552-8C8E437056AF}" dt="2024-10-23T17:19:08.629" v="828"/>
        <pc:sldMkLst>
          <pc:docMk/>
          <pc:sldMk cId="3837577858" sldId="2147481580"/>
        </pc:sldMkLst>
        <pc:spChg chg="mod ord">
          <ac:chgData name="Jennings, Stephanie (ME)" userId="cae05ffc-2b7d-4758-a51b-b1fcf04da5fa" providerId="ADAL" clId="{8B322270-4546-4C3D-A552-8C8E437056AF}" dt="2024-10-18T15:30:53.397" v="388" actId="700"/>
          <ac:spMkLst>
            <pc:docMk/>
            <pc:sldMk cId="3837577858" sldId="2147481580"/>
            <ac:spMk id="2" creationId="{45CD4D9F-A3B5-2BFA-262D-12B5F7BE9986}"/>
          </ac:spMkLst>
        </pc:spChg>
        <pc:spChg chg="mod">
          <ac:chgData name="Jennings, Stephanie (ME)" userId="cae05ffc-2b7d-4758-a51b-b1fcf04da5fa" providerId="ADAL" clId="{8B322270-4546-4C3D-A552-8C8E437056AF}" dt="2024-10-18T15:38:51.534" v="466" actId="1076"/>
          <ac:spMkLst>
            <pc:docMk/>
            <pc:sldMk cId="3837577858" sldId="2147481580"/>
            <ac:spMk id="3" creationId="{2CF8E562-F560-20AF-EC36-50E7559B0801}"/>
          </ac:spMkLst>
        </pc:spChg>
        <pc:spChg chg="mod">
          <ac:chgData name="Jennings, Stephanie (ME)" userId="cae05ffc-2b7d-4758-a51b-b1fcf04da5fa" providerId="ADAL" clId="{8B322270-4546-4C3D-A552-8C8E437056AF}" dt="2024-10-18T15:36:53.208" v="438" actId="1076"/>
          <ac:spMkLst>
            <pc:docMk/>
            <pc:sldMk cId="3837577858" sldId="2147481580"/>
            <ac:spMk id="4" creationId="{51928AD6-3B02-708A-7684-B9F0A23B8B29}"/>
          </ac:spMkLst>
        </pc:spChg>
        <pc:spChg chg="mod">
          <ac:chgData name="Jennings, Stephanie (ME)" userId="cae05ffc-2b7d-4758-a51b-b1fcf04da5fa" providerId="ADAL" clId="{8B322270-4546-4C3D-A552-8C8E437056AF}" dt="2024-10-18T15:36:03.498" v="432" actId="1076"/>
          <ac:spMkLst>
            <pc:docMk/>
            <pc:sldMk cId="3837577858" sldId="2147481580"/>
            <ac:spMk id="8" creationId="{17F6717A-AAF3-B93C-3546-C6FB1497D84E}"/>
          </ac:spMkLst>
        </pc:spChg>
        <pc:spChg chg="mod ord">
          <ac:chgData name="Jennings, Stephanie (ME)" userId="cae05ffc-2b7d-4758-a51b-b1fcf04da5fa" providerId="ADAL" clId="{8B322270-4546-4C3D-A552-8C8E437056AF}" dt="2024-10-18T15:39:12.525" v="471" actId="1076"/>
          <ac:spMkLst>
            <pc:docMk/>
            <pc:sldMk cId="3837577858" sldId="2147481580"/>
            <ac:spMk id="10" creationId="{4E7ED372-7E71-A397-F3E8-47E51C4C54AB}"/>
          </ac:spMkLst>
        </pc:spChg>
        <pc:spChg chg="mod ord">
          <ac:chgData name="Jennings, Stephanie (ME)" userId="cae05ffc-2b7d-4758-a51b-b1fcf04da5fa" providerId="ADAL" clId="{8B322270-4546-4C3D-A552-8C8E437056AF}" dt="2024-10-18T15:30:53.397" v="388" actId="700"/>
          <ac:spMkLst>
            <pc:docMk/>
            <pc:sldMk cId="3837577858" sldId="2147481580"/>
            <ac:spMk id="28" creationId="{020AF98D-2E1F-D9EC-D19C-43D1DCA5E6A0}"/>
          </ac:spMkLst>
        </pc:spChg>
        <pc:spChg chg="mod">
          <ac:chgData name="Jennings, Stephanie (ME)" userId="cae05ffc-2b7d-4758-a51b-b1fcf04da5fa" providerId="ADAL" clId="{8B322270-4546-4C3D-A552-8C8E437056AF}" dt="2024-10-18T15:38:00.132" v="450" actId="1076"/>
          <ac:spMkLst>
            <pc:docMk/>
            <pc:sldMk cId="3837577858" sldId="2147481580"/>
            <ac:spMk id="33" creationId="{8C89550B-D46A-EB31-94F9-0470B8E9C4A2}"/>
          </ac:spMkLst>
        </pc:spChg>
        <pc:spChg chg="mod">
          <ac:chgData name="Jennings, Stephanie (ME)" userId="cae05ffc-2b7d-4758-a51b-b1fcf04da5fa" providerId="ADAL" clId="{8B322270-4546-4C3D-A552-8C8E437056AF}" dt="2024-10-18T15:37:57.383" v="449" actId="1076"/>
          <ac:spMkLst>
            <pc:docMk/>
            <pc:sldMk cId="3837577858" sldId="2147481580"/>
            <ac:spMk id="35" creationId="{862DC982-8E3C-11AE-726E-3DD2B1C54274}"/>
          </ac:spMkLst>
        </pc:spChg>
        <pc:spChg chg="mod">
          <ac:chgData name="Jennings, Stephanie (ME)" userId="cae05ffc-2b7d-4758-a51b-b1fcf04da5fa" providerId="ADAL" clId="{8B322270-4546-4C3D-A552-8C8E437056AF}" dt="2024-10-18T15:38:48.546" v="465" actId="1076"/>
          <ac:spMkLst>
            <pc:docMk/>
            <pc:sldMk cId="3837577858" sldId="2147481580"/>
            <ac:spMk id="38" creationId="{0CCD975F-9F55-35F1-A899-0A9AF416F50C}"/>
          </ac:spMkLst>
        </pc:spChg>
        <pc:spChg chg="mod ord">
          <ac:chgData name="Jennings, Stephanie (ME)" userId="cae05ffc-2b7d-4758-a51b-b1fcf04da5fa" providerId="ADAL" clId="{8B322270-4546-4C3D-A552-8C8E437056AF}" dt="2024-10-18T15:39:50.727" v="475" actId="166"/>
          <ac:spMkLst>
            <pc:docMk/>
            <pc:sldMk cId="3837577858" sldId="2147481580"/>
            <ac:spMk id="47" creationId="{6E38DCA2-F7EA-52AB-9C37-656FC2B8E765}"/>
          </ac:spMkLst>
        </pc:spChg>
        <pc:spChg chg="add del mod">
          <ac:chgData name="Jennings, Stephanie (ME)" userId="cae05ffc-2b7d-4758-a51b-b1fcf04da5fa" providerId="ADAL" clId="{8B322270-4546-4C3D-A552-8C8E437056AF}" dt="2024-10-18T15:28:04.828" v="364" actId="478"/>
          <ac:spMkLst>
            <pc:docMk/>
            <pc:sldMk cId="3837577858" sldId="2147481580"/>
            <ac:spMk id="55" creationId="{A8700C8A-5C8D-9BE2-046B-5858C7D8AC58}"/>
          </ac:spMkLst>
        </pc:spChg>
        <pc:spChg chg="add del mod ord">
          <ac:chgData name="Jennings, Stephanie (ME)" userId="cae05ffc-2b7d-4758-a51b-b1fcf04da5fa" providerId="ADAL" clId="{8B322270-4546-4C3D-A552-8C8E437056AF}" dt="2024-10-18T15:31:14.132" v="390" actId="478"/>
          <ac:spMkLst>
            <pc:docMk/>
            <pc:sldMk cId="3837577858" sldId="2147481580"/>
            <ac:spMk id="56" creationId="{C0250CB1-A731-13AF-4499-9D6A6F3DCC88}"/>
          </ac:spMkLst>
        </pc:spChg>
        <pc:spChg chg="add mod">
          <ac:chgData name="Jennings, Stephanie (ME)" userId="cae05ffc-2b7d-4758-a51b-b1fcf04da5fa" providerId="ADAL" clId="{8B322270-4546-4C3D-A552-8C8E437056AF}" dt="2024-10-18T15:35:07.516" v="426" actId="113"/>
          <ac:spMkLst>
            <pc:docMk/>
            <pc:sldMk cId="3837577858" sldId="2147481580"/>
            <ac:spMk id="57" creationId="{49C86F43-90BD-45C9-A300-77139E3970C7}"/>
          </ac:spMkLst>
        </pc:spChg>
        <pc:grpChg chg="mod">
          <ac:chgData name="Jennings, Stephanie (ME)" userId="cae05ffc-2b7d-4758-a51b-b1fcf04da5fa" providerId="ADAL" clId="{8B322270-4546-4C3D-A552-8C8E437056AF}" dt="2024-10-18T15:40:18.515" v="476" actId="1076"/>
          <ac:grpSpMkLst>
            <pc:docMk/>
            <pc:sldMk cId="3837577858" sldId="2147481580"/>
            <ac:grpSpMk id="5" creationId="{423838E8-3B11-A6BE-A3A9-01EB41452B4A}"/>
          </ac:grpSpMkLst>
        </pc:grpChg>
        <pc:grpChg chg="mod">
          <ac:chgData name="Jennings, Stephanie (ME)" userId="cae05ffc-2b7d-4758-a51b-b1fcf04da5fa" providerId="ADAL" clId="{8B322270-4546-4C3D-A552-8C8E437056AF}" dt="2024-10-18T15:36:49.130" v="437" actId="1076"/>
          <ac:grpSpMkLst>
            <pc:docMk/>
            <pc:sldMk cId="3837577858" sldId="2147481580"/>
            <ac:grpSpMk id="9" creationId="{0F31927D-AED5-FE11-6616-4889C7CFDA73}"/>
          </ac:grpSpMkLst>
        </pc:grpChg>
        <pc:grpChg chg="mod ord">
          <ac:chgData name="Jennings, Stephanie (ME)" userId="cae05ffc-2b7d-4758-a51b-b1fcf04da5fa" providerId="ADAL" clId="{8B322270-4546-4C3D-A552-8C8E437056AF}" dt="2024-10-18T15:39:20.039" v="473" actId="1076"/>
          <ac:grpSpMkLst>
            <pc:docMk/>
            <pc:sldMk cId="3837577858" sldId="2147481580"/>
            <ac:grpSpMk id="12" creationId="{92D5E412-5110-7A7F-F9CE-AADBE22938D6}"/>
          </ac:grpSpMkLst>
        </pc:grpChg>
        <pc:grpChg chg="mod">
          <ac:chgData name="Jennings, Stephanie (ME)" userId="cae05ffc-2b7d-4758-a51b-b1fcf04da5fa" providerId="ADAL" clId="{8B322270-4546-4C3D-A552-8C8E437056AF}" dt="2024-10-18T15:38:15.096" v="454" actId="1076"/>
          <ac:grpSpMkLst>
            <pc:docMk/>
            <pc:sldMk cId="3837577858" sldId="2147481580"/>
            <ac:grpSpMk id="16" creationId="{15EFB09B-A94D-06CD-47E1-CC50CC52A386}"/>
          </ac:grpSpMkLst>
        </pc:grpChg>
        <pc:grpChg chg="mod">
          <ac:chgData name="Jennings, Stephanie (ME)" userId="cae05ffc-2b7d-4758-a51b-b1fcf04da5fa" providerId="ADAL" clId="{8B322270-4546-4C3D-A552-8C8E437056AF}" dt="2024-10-18T15:36:14.087" v="434" actId="1076"/>
          <ac:grpSpMkLst>
            <pc:docMk/>
            <pc:sldMk cId="3837577858" sldId="2147481580"/>
            <ac:grpSpMk id="37" creationId="{81EB9A0D-B7D8-0228-7406-D2BE9F8B31D2}"/>
          </ac:grpSpMkLst>
        </pc:grpChg>
        <pc:graphicFrameChg chg="mod ord modGraphic">
          <ac:chgData name="Jennings, Stephanie (ME)" userId="cae05ffc-2b7d-4758-a51b-b1fcf04da5fa" providerId="ADAL" clId="{8B322270-4546-4C3D-A552-8C8E437056AF}" dt="2024-10-23T17:19:08.629" v="828"/>
          <ac:graphicFrameMkLst>
            <pc:docMk/>
            <pc:sldMk cId="3837577858" sldId="2147481580"/>
            <ac:graphicFrameMk id="7" creationId="{A8701DFE-9404-2DA5-8D38-1ED56F53BBAA}"/>
          </ac:graphicFrameMkLst>
        </pc:graphicFrameChg>
      </pc:sldChg>
      <pc:sldChg chg="delSp modSp del mod">
        <pc:chgData name="Jennings, Stephanie (ME)" userId="cae05ffc-2b7d-4758-a51b-b1fcf04da5fa" providerId="ADAL" clId="{8B322270-4546-4C3D-A552-8C8E437056AF}" dt="2024-10-17T22:09:48.290" v="344" actId="47"/>
        <pc:sldMkLst>
          <pc:docMk/>
          <pc:sldMk cId="3659672313" sldId="2147481581"/>
        </pc:sldMkLst>
        <pc:spChg chg="del mod">
          <ac:chgData name="Jennings, Stephanie (ME)" userId="cae05ffc-2b7d-4758-a51b-b1fcf04da5fa" providerId="ADAL" clId="{8B322270-4546-4C3D-A552-8C8E437056AF}" dt="2024-10-17T22:07:35.798" v="337" actId="478"/>
          <ac:spMkLst>
            <pc:docMk/>
            <pc:sldMk cId="3659672313" sldId="2147481581"/>
            <ac:spMk id="11" creationId="{A6F71322-BAC7-D50E-B338-33405EBEAE30}"/>
          </ac:spMkLst>
        </pc:spChg>
        <pc:spChg chg="del">
          <ac:chgData name="Jennings, Stephanie (ME)" userId="cae05ffc-2b7d-4758-a51b-b1fcf04da5fa" providerId="ADAL" clId="{8B322270-4546-4C3D-A552-8C8E437056AF}" dt="2024-10-17T22:07:35.798" v="337" actId="478"/>
          <ac:spMkLst>
            <pc:docMk/>
            <pc:sldMk cId="3659672313" sldId="2147481581"/>
            <ac:spMk id="13" creationId="{1BBA9C52-0B40-FE02-3DED-1973F002FBCF}"/>
          </ac:spMkLst>
        </pc:spChg>
        <pc:spChg chg="mod">
          <ac:chgData name="Jennings, Stephanie (ME)" userId="cae05ffc-2b7d-4758-a51b-b1fcf04da5fa" providerId="ADAL" clId="{8B322270-4546-4C3D-A552-8C8E437056AF}" dt="2024-10-17T22:07:44.011" v="338" actId="1076"/>
          <ac:spMkLst>
            <pc:docMk/>
            <pc:sldMk cId="3659672313" sldId="2147481581"/>
            <ac:spMk id="14" creationId="{49451761-A247-0279-D015-66A34BE75AF2}"/>
          </ac:spMkLst>
        </pc:spChg>
        <pc:spChg chg="del mod">
          <ac:chgData name="Jennings, Stephanie (ME)" userId="cae05ffc-2b7d-4758-a51b-b1fcf04da5fa" providerId="ADAL" clId="{8B322270-4546-4C3D-A552-8C8E437056AF}" dt="2024-10-17T22:07:35.798" v="337" actId="478"/>
          <ac:spMkLst>
            <pc:docMk/>
            <pc:sldMk cId="3659672313" sldId="2147481581"/>
            <ac:spMk id="15" creationId="{C56B12C8-728D-A00B-C3B3-DF62C2371998}"/>
          </ac:spMkLst>
        </pc:spChg>
        <pc:spChg chg="del">
          <ac:chgData name="Jennings, Stephanie (ME)" userId="cae05ffc-2b7d-4758-a51b-b1fcf04da5fa" providerId="ADAL" clId="{8B322270-4546-4C3D-A552-8C8E437056AF}" dt="2024-10-17T22:07:28.133" v="335" actId="478"/>
          <ac:spMkLst>
            <pc:docMk/>
            <pc:sldMk cId="3659672313" sldId="2147481581"/>
            <ac:spMk id="17" creationId="{D64D622F-5FFC-5000-2D3E-A97E607C5BEA}"/>
          </ac:spMkLst>
        </pc:spChg>
        <pc:spChg chg="del">
          <ac:chgData name="Jennings, Stephanie (ME)" userId="cae05ffc-2b7d-4758-a51b-b1fcf04da5fa" providerId="ADAL" clId="{8B322270-4546-4C3D-A552-8C8E437056AF}" dt="2024-10-17T22:07:35.798" v="337" actId="478"/>
          <ac:spMkLst>
            <pc:docMk/>
            <pc:sldMk cId="3659672313" sldId="2147481581"/>
            <ac:spMk id="21" creationId="{4CA5A67B-C1A4-2010-6D04-2A478AC6B4E7}"/>
          </ac:spMkLst>
        </pc:spChg>
        <pc:spChg chg="del">
          <ac:chgData name="Jennings, Stephanie (ME)" userId="cae05ffc-2b7d-4758-a51b-b1fcf04da5fa" providerId="ADAL" clId="{8B322270-4546-4C3D-A552-8C8E437056AF}" dt="2024-10-17T22:07:28.133" v="335" actId="478"/>
          <ac:spMkLst>
            <pc:docMk/>
            <pc:sldMk cId="3659672313" sldId="2147481581"/>
            <ac:spMk id="23" creationId="{9BBE1805-B29B-59A7-306F-C1B3E8EDEBEC}"/>
          </ac:spMkLst>
        </pc:spChg>
        <pc:spChg chg="del">
          <ac:chgData name="Jennings, Stephanie (ME)" userId="cae05ffc-2b7d-4758-a51b-b1fcf04da5fa" providerId="ADAL" clId="{8B322270-4546-4C3D-A552-8C8E437056AF}" dt="2024-10-17T22:07:35.798" v="337" actId="478"/>
          <ac:spMkLst>
            <pc:docMk/>
            <pc:sldMk cId="3659672313" sldId="2147481581"/>
            <ac:spMk id="29" creationId="{95E354D2-7668-515C-91B0-A411F4A4C3D1}"/>
          </ac:spMkLst>
        </pc:spChg>
        <pc:spChg chg="del">
          <ac:chgData name="Jennings, Stephanie (ME)" userId="cae05ffc-2b7d-4758-a51b-b1fcf04da5fa" providerId="ADAL" clId="{8B322270-4546-4C3D-A552-8C8E437056AF}" dt="2024-10-17T22:07:35.798" v="337" actId="478"/>
          <ac:spMkLst>
            <pc:docMk/>
            <pc:sldMk cId="3659672313" sldId="2147481581"/>
            <ac:spMk id="31" creationId="{A46B6F75-5EF9-30BA-2259-9797D98CF23D}"/>
          </ac:spMkLst>
        </pc:spChg>
        <pc:spChg chg="del">
          <ac:chgData name="Jennings, Stephanie (ME)" userId="cae05ffc-2b7d-4758-a51b-b1fcf04da5fa" providerId="ADAL" clId="{8B322270-4546-4C3D-A552-8C8E437056AF}" dt="2024-10-17T22:07:35.798" v="337" actId="478"/>
          <ac:spMkLst>
            <pc:docMk/>
            <pc:sldMk cId="3659672313" sldId="2147481581"/>
            <ac:spMk id="34" creationId="{D165002C-00EB-663F-B592-0C94F879037A}"/>
          </ac:spMkLst>
        </pc:spChg>
        <pc:spChg chg="del">
          <ac:chgData name="Jennings, Stephanie (ME)" userId="cae05ffc-2b7d-4758-a51b-b1fcf04da5fa" providerId="ADAL" clId="{8B322270-4546-4C3D-A552-8C8E437056AF}" dt="2024-10-17T22:07:28.133" v="335" actId="478"/>
          <ac:spMkLst>
            <pc:docMk/>
            <pc:sldMk cId="3659672313" sldId="2147481581"/>
            <ac:spMk id="35" creationId="{4D5A337C-7E40-FBC5-B339-46CEFA682AD0}"/>
          </ac:spMkLst>
        </pc:spChg>
        <pc:spChg chg="del">
          <ac:chgData name="Jennings, Stephanie (ME)" userId="cae05ffc-2b7d-4758-a51b-b1fcf04da5fa" providerId="ADAL" clId="{8B322270-4546-4C3D-A552-8C8E437056AF}" dt="2024-10-17T22:07:28.133" v="335" actId="478"/>
          <ac:spMkLst>
            <pc:docMk/>
            <pc:sldMk cId="3659672313" sldId="2147481581"/>
            <ac:spMk id="36" creationId="{9BA66204-FD9F-74CE-C37A-E1B3A5DDFAD7}"/>
          </ac:spMkLst>
        </pc:spChg>
        <pc:spChg chg="del">
          <ac:chgData name="Jennings, Stephanie (ME)" userId="cae05ffc-2b7d-4758-a51b-b1fcf04da5fa" providerId="ADAL" clId="{8B322270-4546-4C3D-A552-8C8E437056AF}" dt="2024-10-17T22:07:35.798" v="337" actId="478"/>
          <ac:spMkLst>
            <pc:docMk/>
            <pc:sldMk cId="3659672313" sldId="2147481581"/>
            <ac:spMk id="37" creationId="{D6AE917F-6237-FD76-6CA5-9BA5756DAE54}"/>
          </ac:spMkLst>
        </pc:spChg>
        <pc:spChg chg="del">
          <ac:chgData name="Jennings, Stephanie (ME)" userId="cae05ffc-2b7d-4758-a51b-b1fcf04da5fa" providerId="ADAL" clId="{8B322270-4546-4C3D-A552-8C8E437056AF}" dt="2024-10-17T22:07:28.133" v="335" actId="478"/>
          <ac:spMkLst>
            <pc:docMk/>
            <pc:sldMk cId="3659672313" sldId="2147481581"/>
            <ac:spMk id="39" creationId="{4B899817-EF91-7046-B3A6-8CF6DA5F7A04}"/>
          </ac:spMkLst>
        </pc:spChg>
        <pc:spChg chg="del">
          <ac:chgData name="Jennings, Stephanie (ME)" userId="cae05ffc-2b7d-4758-a51b-b1fcf04da5fa" providerId="ADAL" clId="{8B322270-4546-4C3D-A552-8C8E437056AF}" dt="2024-10-17T22:07:28.133" v="335" actId="478"/>
          <ac:spMkLst>
            <pc:docMk/>
            <pc:sldMk cId="3659672313" sldId="2147481581"/>
            <ac:spMk id="40" creationId="{6B1EBF08-5F80-8655-3B65-6AC77CC3D7D5}"/>
          </ac:spMkLst>
        </pc:spChg>
        <pc:spChg chg="del">
          <ac:chgData name="Jennings, Stephanie (ME)" userId="cae05ffc-2b7d-4758-a51b-b1fcf04da5fa" providerId="ADAL" clId="{8B322270-4546-4C3D-A552-8C8E437056AF}" dt="2024-10-17T22:07:35.798" v="337" actId="478"/>
          <ac:spMkLst>
            <pc:docMk/>
            <pc:sldMk cId="3659672313" sldId="2147481581"/>
            <ac:spMk id="41" creationId="{F717756B-51F1-870D-23CA-E7D5DC68140A}"/>
          </ac:spMkLst>
        </pc:spChg>
        <pc:spChg chg="del">
          <ac:chgData name="Jennings, Stephanie (ME)" userId="cae05ffc-2b7d-4758-a51b-b1fcf04da5fa" providerId="ADAL" clId="{8B322270-4546-4C3D-A552-8C8E437056AF}" dt="2024-10-17T22:07:28.133" v="335" actId="478"/>
          <ac:spMkLst>
            <pc:docMk/>
            <pc:sldMk cId="3659672313" sldId="2147481581"/>
            <ac:spMk id="42" creationId="{9C132A37-B8D0-7E01-DF71-1E39CA3CFAB0}"/>
          </ac:spMkLst>
        </pc:spChg>
        <pc:spChg chg="del">
          <ac:chgData name="Jennings, Stephanie (ME)" userId="cae05ffc-2b7d-4758-a51b-b1fcf04da5fa" providerId="ADAL" clId="{8B322270-4546-4C3D-A552-8C8E437056AF}" dt="2024-10-17T22:07:28.133" v="335" actId="478"/>
          <ac:spMkLst>
            <pc:docMk/>
            <pc:sldMk cId="3659672313" sldId="2147481581"/>
            <ac:spMk id="43" creationId="{6064A05B-A06B-AECF-41C8-DE49029FF73A}"/>
          </ac:spMkLst>
        </pc:spChg>
        <pc:cxnChg chg="del">
          <ac:chgData name="Jennings, Stephanie (ME)" userId="cae05ffc-2b7d-4758-a51b-b1fcf04da5fa" providerId="ADAL" clId="{8B322270-4546-4C3D-A552-8C8E437056AF}" dt="2024-10-17T22:07:35.798" v="337" actId="478"/>
          <ac:cxnSpMkLst>
            <pc:docMk/>
            <pc:sldMk cId="3659672313" sldId="2147481581"/>
            <ac:cxnSpMk id="26" creationId="{027EAB14-8EE0-FD91-8767-FB13F2C700EC}"/>
          </ac:cxnSpMkLst>
        </pc:cxnChg>
      </pc:sldChg>
      <pc:sldChg chg="del">
        <pc:chgData name="Jennings, Stephanie (ME)" userId="cae05ffc-2b7d-4758-a51b-b1fcf04da5fa" providerId="ADAL" clId="{8B322270-4546-4C3D-A552-8C8E437056AF}" dt="2024-10-18T18:59:33.104" v="491" actId="2696"/>
        <pc:sldMkLst>
          <pc:docMk/>
          <pc:sldMk cId="3588620620" sldId="2147481583"/>
        </pc:sldMkLst>
      </pc:sldChg>
      <pc:sldChg chg="addSp delSp modSp mod modClrScheme chgLayout">
        <pc:chgData name="Jennings, Stephanie (ME)" userId="cae05ffc-2b7d-4758-a51b-b1fcf04da5fa" providerId="ADAL" clId="{8B322270-4546-4C3D-A552-8C8E437056AF}" dt="2024-10-20T17:07:09.348" v="737" actId="478"/>
        <pc:sldMkLst>
          <pc:docMk/>
          <pc:sldMk cId="2507636616" sldId="2147481584"/>
        </pc:sldMkLst>
        <pc:spChg chg="add del mod ord">
          <ac:chgData name="Jennings, Stephanie (ME)" userId="cae05ffc-2b7d-4758-a51b-b1fcf04da5fa" providerId="ADAL" clId="{8B322270-4546-4C3D-A552-8C8E437056AF}" dt="2024-10-20T17:03:09.262" v="717" actId="478"/>
          <ac:spMkLst>
            <pc:docMk/>
            <pc:sldMk cId="2507636616" sldId="2147481584"/>
            <ac:spMk id="2" creationId="{184A6D11-7E5B-568C-BD7A-275E75498AF6}"/>
          </ac:spMkLst>
        </pc:spChg>
        <pc:spChg chg="del mod ord">
          <ac:chgData name="Jennings, Stephanie (ME)" userId="cae05ffc-2b7d-4758-a51b-b1fcf04da5fa" providerId="ADAL" clId="{8B322270-4546-4C3D-A552-8C8E437056AF}" dt="2024-10-20T17:07:09.348" v="737" actId="478"/>
          <ac:spMkLst>
            <pc:docMk/>
            <pc:sldMk cId="2507636616" sldId="2147481584"/>
            <ac:spMk id="7" creationId="{8EC3DF91-4D22-496B-1202-5C14562361E0}"/>
          </ac:spMkLst>
        </pc:spChg>
        <pc:spChg chg="mod ord">
          <ac:chgData name="Jennings, Stephanie (ME)" userId="cae05ffc-2b7d-4758-a51b-b1fcf04da5fa" providerId="ADAL" clId="{8B322270-4546-4C3D-A552-8C8E437056AF}" dt="2024-10-20T17:03:04.881" v="716" actId="700"/>
          <ac:spMkLst>
            <pc:docMk/>
            <pc:sldMk cId="2507636616" sldId="2147481584"/>
            <ac:spMk id="16" creationId="{00000000-0000-0000-0000-000000000000}"/>
          </ac:spMkLst>
        </pc:spChg>
        <pc:spChg chg="mod">
          <ac:chgData name="Jennings, Stephanie (ME)" userId="cae05ffc-2b7d-4758-a51b-b1fcf04da5fa" providerId="ADAL" clId="{8B322270-4546-4C3D-A552-8C8E437056AF}" dt="2024-10-20T17:03:43.692" v="720" actId="1076"/>
          <ac:spMkLst>
            <pc:docMk/>
            <pc:sldMk cId="2507636616" sldId="2147481584"/>
            <ac:spMk id="17" creationId="{E52E46FC-1395-D4DC-DCB3-54FCDB56FA2D}"/>
          </ac:spMkLst>
        </pc:spChg>
        <pc:spChg chg="mod">
          <ac:chgData name="Jennings, Stephanie (ME)" userId="cae05ffc-2b7d-4758-a51b-b1fcf04da5fa" providerId="ADAL" clId="{8B322270-4546-4C3D-A552-8C8E437056AF}" dt="2024-10-20T17:03:43.692" v="720" actId="1076"/>
          <ac:spMkLst>
            <pc:docMk/>
            <pc:sldMk cId="2507636616" sldId="2147481584"/>
            <ac:spMk id="22" creationId="{5747586B-1BDE-6282-5A76-FF4194D7FC25}"/>
          </ac:spMkLst>
        </pc:spChg>
        <pc:spChg chg="mod">
          <ac:chgData name="Jennings, Stephanie (ME)" userId="cae05ffc-2b7d-4758-a51b-b1fcf04da5fa" providerId="ADAL" clId="{8B322270-4546-4C3D-A552-8C8E437056AF}" dt="2024-10-20T17:03:43.692" v="720" actId="1076"/>
          <ac:spMkLst>
            <pc:docMk/>
            <pc:sldMk cId="2507636616" sldId="2147481584"/>
            <ac:spMk id="23" creationId="{5FCF4EC2-554C-7E8B-529D-4288B21F5696}"/>
          </ac:spMkLst>
        </pc:spChg>
        <pc:spChg chg="mod">
          <ac:chgData name="Jennings, Stephanie (ME)" userId="cae05ffc-2b7d-4758-a51b-b1fcf04da5fa" providerId="ADAL" clId="{8B322270-4546-4C3D-A552-8C8E437056AF}" dt="2024-10-20T17:03:43.692" v="720" actId="1076"/>
          <ac:spMkLst>
            <pc:docMk/>
            <pc:sldMk cId="2507636616" sldId="2147481584"/>
            <ac:spMk id="25" creationId="{5C53C91E-FF6E-52CC-80D1-D21CB26B7ACE}"/>
          </ac:spMkLst>
        </pc:spChg>
        <pc:spChg chg="mod">
          <ac:chgData name="Jennings, Stephanie (ME)" userId="cae05ffc-2b7d-4758-a51b-b1fcf04da5fa" providerId="ADAL" clId="{8B322270-4546-4C3D-A552-8C8E437056AF}" dt="2024-10-20T17:03:43.692" v="720" actId="1076"/>
          <ac:spMkLst>
            <pc:docMk/>
            <pc:sldMk cId="2507636616" sldId="2147481584"/>
            <ac:spMk id="26" creationId="{818F6E31-DDCA-6206-2353-58C48B2684C0}"/>
          </ac:spMkLst>
        </pc:spChg>
        <pc:spChg chg="mod">
          <ac:chgData name="Jennings, Stephanie (ME)" userId="cae05ffc-2b7d-4758-a51b-b1fcf04da5fa" providerId="ADAL" clId="{8B322270-4546-4C3D-A552-8C8E437056AF}" dt="2024-10-20T17:03:43.692" v="720" actId="1076"/>
          <ac:spMkLst>
            <pc:docMk/>
            <pc:sldMk cId="2507636616" sldId="2147481584"/>
            <ac:spMk id="27" creationId="{89B4633C-BF7A-ADA0-CBBF-A541C3EE4356}"/>
          </ac:spMkLst>
        </pc:spChg>
        <pc:spChg chg="mod">
          <ac:chgData name="Jennings, Stephanie (ME)" userId="cae05ffc-2b7d-4758-a51b-b1fcf04da5fa" providerId="ADAL" clId="{8B322270-4546-4C3D-A552-8C8E437056AF}" dt="2024-10-20T17:03:43.692" v="720" actId="1076"/>
          <ac:spMkLst>
            <pc:docMk/>
            <pc:sldMk cId="2507636616" sldId="2147481584"/>
            <ac:spMk id="46" creationId="{D63F4EF9-67FF-3D53-4314-59A059F581BF}"/>
          </ac:spMkLst>
        </pc:spChg>
        <pc:spChg chg="mod">
          <ac:chgData name="Jennings, Stephanie (ME)" userId="cae05ffc-2b7d-4758-a51b-b1fcf04da5fa" providerId="ADAL" clId="{8B322270-4546-4C3D-A552-8C8E437056AF}" dt="2024-10-20T17:03:43.692" v="720" actId="1076"/>
          <ac:spMkLst>
            <pc:docMk/>
            <pc:sldMk cId="2507636616" sldId="2147481584"/>
            <ac:spMk id="47" creationId="{F8A2172C-BB59-01DD-EF9A-CAE731B99332}"/>
          </ac:spMkLst>
        </pc:spChg>
        <pc:spChg chg="mod">
          <ac:chgData name="Jennings, Stephanie (ME)" userId="cae05ffc-2b7d-4758-a51b-b1fcf04da5fa" providerId="ADAL" clId="{8B322270-4546-4C3D-A552-8C8E437056AF}" dt="2024-10-20T17:03:43.692" v="720" actId="1076"/>
          <ac:spMkLst>
            <pc:docMk/>
            <pc:sldMk cId="2507636616" sldId="2147481584"/>
            <ac:spMk id="48" creationId="{2377793C-2B34-FB56-9BFB-DEF30299F18A}"/>
          </ac:spMkLst>
        </pc:spChg>
        <pc:picChg chg="mod">
          <ac:chgData name="Jennings, Stephanie (ME)" userId="cae05ffc-2b7d-4758-a51b-b1fcf04da5fa" providerId="ADAL" clId="{8B322270-4546-4C3D-A552-8C8E437056AF}" dt="2024-10-20T17:03:43.692" v="720" actId="1076"/>
          <ac:picMkLst>
            <pc:docMk/>
            <pc:sldMk cId="2507636616" sldId="2147481584"/>
            <ac:picMk id="12" creationId="{5BD1AD86-E809-12BF-02DD-2145EBC29863}"/>
          </ac:picMkLst>
        </pc:picChg>
        <pc:picChg chg="mod">
          <ac:chgData name="Jennings, Stephanie (ME)" userId="cae05ffc-2b7d-4758-a51b-b1fcf04da5fa" providerId="ADAL" clId="{8B322270-4546-4C3D-A552-8C8E437056AF}" dt="2024-10-20T17:03:43.692" v="720" actId="1076"/>
          <ac:picMkLst>
            <pc:docMk/>
            <pc:sldMk cId="2507636616" sldId="2147481584"/>
            <ac:picMk id="21" creationId="{91FF0B25-625B-5040-EDE5-27AC284420F3}"/>
          </ac:picMkLst>
        </pc:picChg>
        <pc:picChg chg="mod">
          <ac:chgData name="Jennings, Stephanie (ME)" userId="cae05ffc-2b7d-4758-a51b-b1fcf04da5fa" providerId="ADAL" clId="{8B322270-4546-4C3D-A552-8C8E437056AF}" dt="2024-10-20T17:03:43.692" v="720" actId="1076"/>
          <ac:picMkLst>
            <pc:docMk/>
            <pc:sldMk cId="2507636616" sldId="2147481584"/>
            <ac:picMk id="28" creationId="{6D5188BF-B201-9C05-418F-7FFC6AF9B8C0}"/>
          </ac:picMkLst>
        </pc:picChg>
        <pc:picChg chg="mod">
          <ac:chgData name="Jennings, Stephanie (ME)" userId="cae05ffc-2b7d-4758-a51b-b1fcf04da5fa" providerId="ADAL" clId="{8B322270-4546-4C3D-A552-8C8E437056AF}" dt="2024-10-20T17:03:43.692" v="720" actId="1076"/>
          <ac:picMkLst>
            <pc:docMk/>
            <pc:sldMk cId="2507636616" sldId="2147481584"/>
            <ac:picMk id="29" creationId="{5DB56755-896B-2F35-D952-3B465B5B23F2}"/>
          </ac:picMkLst>
        </pc:picChg>
      </pc:sldChg>
      <pc:sldChg chg="modSp del mod">
        <pc:chgData name="Jennings, Stephanie (ME)" userId="cae05ffc-2b7d-4758-a51b-b1fcf04da5fa" providerId="ADAL" clId="{8B322270-4546-4C3D-A552-8C8E437056AF}" dt="2024-10-20T15:22:50.970" v="497" actId="47"/>
        <pc:sldMkLst>
          <pc:docMk/>
          <pc:sldMk cId="335012966" sldId="2147481585"/>
        </pc:sldMkLst>
        <pc:spChg chg="mod">
          <ac:chgData name="Jennings, Stephanie (ME)" userId="cae05ffc-2b7d-4758-a51b-b1fcf04da5fa" providerId="ADAL" clId="{8B322270-4546-4C3D-A552-8C8E437056AF}" dt="2024-10-17T20:25:40.838" v="133" actId="1076"/>
          <ac:spMkLst>
            <pc:docMk/>
            <pc:sldMk cId="335012966" sldId="2147481585"/>
            <ac:spMk id="3" creationId="{D77A3349-0859-2F0F-32D3-035F0916E641}"/>
          </ac:spMkLst>
        </pc:spChg>
      </pc:sldChg>
      <pc:sldChg chg="delSp modSp mod modClrScheme chgLayout">
        <pc:chgData name="Jennings, Stephanie (ME)" userId="cae05ffc-2b7d-4758-a51b-b1fcf04da5fa" providerId="ADAL" clId="{8B322270-4546-4C3D-A552-8C8E437056AF}" dt="2024-10-20T17:09:47.099" v="746" actId="1076"/>
        <pc:sldMkLst>
          <pc:docMk/>
          <pc:sldMk cId="3938734347" sldId="2147481586"/>
        </pc:sldMkLst>
        <pc:spChg chg="mod ord">
          <ac:chgData name="Jennings, Stephanie (ME)" userId="cae05ffc-2b7d-4758-a51b-b1fcf04da5fa" providerId="ADAL" clId="{8B322270-4546-4C3D-A552-8C8E437056AF}" dt="2024-10-20T17:04:20.533" v="723" actId="700"/>
          <ac:spMkLst>
            <pc:docMk/>
            <pc:sldMk cId="3938734347" sldId="2147481586"/>
            <ac:spMk id="3" creationId="{C0D97C93-77A9-4C2B-CA68-DC2D59DB65A4}"/>
          </ac:spMkLst>
        </pc:spChg>
        <pc:spChg chg="del mod ord">
          <ac:chgData name="Jennings, Stephanie (ME)" userId="cae05ffc-2b7d-4758-a51b-b1fcf04da5fa" providerId="ADAL" clId="{8B322270-4546-4C3D-A552-8C8E437056AF}" dt="2024-10-20T17:07:24.149" v="738" actId="478"/>
          <ac:spMkLst>
            <pc:docMk/>
            <pc:sldMk cId="3938734347" sldId="2147481586"/>
            <ac:spMk id="4" creationId="{3CCD7EBB-AD13-7FB9-37A9-499A477BBC08}"/>
          </ac:spMkLst>
        </pc:spChg>
        <pc:spChg chg="mod">
          <ac:chgData name="Jennings, Stephanie (ME)" userId="cae05ffc-2b7d-4758-a51b-b1fcf04da5fa" providerId="ADAL" clId="{8B322270-4546-4C3D-A552-8C8E437056AF}" dt="2024-10-20T17:09:47.099" v="746" actId="1076"/>
          <ac:spMkLst>
            <pc:docMk/>
            <pc:sldMk cId="3938734347" sldId="2147481586"/>
            <ac:spMk id="11" creationId="{A345DBB6-43E7-EED7-4E43-8C80A60C311B}"/>
          </ac:spMkLst>
        </pc:spChg>
        <pc:picChg chg="mod ord">
          <ac:chgData name="Jennings, Stephanie (ME)" userId="cae05ffc-2b7d-4758-a51b-b1fcf04da5fa" providerId="ADAL" clId="{8B322270-4546-4C3D-A552-8C8E437056AF}" dt="2024-10-20T17:09:40.279" v="745" actId="14100"/>
          <ac:picMkLst>
            <pc:docMk/>
            <pc:sldMk cId="3938734347" sldId="2147481586"/>
            <ac:picMk id="10" creationId="{7806D7B6-FD90-86BC-0C35-5E0043EF3ECC}"/>
          </ac:picMkLst>
        </pc:picChg>
      </pc:sldChg>
      <pc:sldChg chg="addSp delSp modSp add del mod modClrScheme chgLayout">
        <pc:chgData name="Jennings, Stephanie (ME)" userId="cae05ffc-2b7d-4758-a51b-b1fcf04da5fa" providerId="ADAL" clId="{8B322270-4546-4C3D-A552-8C8E437056AF}" dt="2024-10-20T16:51:42.273" v="697" actId="47"/>
        <pc:sldMkLst>
          <pc:docMk/>
          <pc:sldMk cId="2170667190" sldId="2147481588"/>
        </pc:sldMkLst>
        <pc:spChg chg="mod ord">
          <ac:chgData name="Jennings, Stephanie (ME)" userId="cae05ffc-2b7d-4758-a51b-b1fcf04da5fa" providerId="ADAL" clId="{8B322270-4546-4C3D-A552-8C8E437056AF}" dt="2024-10-17T20:19:39.320" v="36" actId="20577"/>
          <ac:spMkLst>
            <pc:docMk/>
            <pc:sldMk cId="2170667190" sldId="2147481588"/>
            <ac:spMk id="2" creationId="{A4056CFE-E310-1488-0FD1-A58B5AB977E9}"/>
          </ac:spMkLst>
        </pc:spChg>
        <pc:spChg chg="add del mod ord">
          <ac:chgData name="Jennings, Stephanie (ME)" userId="cae05ffc-2b7d-4758-a51b-b1fcf04da5fa" providerId="ADAL" clId="{8B322270-4546-4C3D-A552-8C8E437056AF}" dt="2024-10-17T20:19:07.992" v="19" actId="478"/>
          <ac:spMkLst>
            <pc:docMk/>
            <pc:sldMk cId="2170667190" sldId="2147481588"/>
            <ac:spMk id="3" creationId="{23388493-2A95-41E3-95A4-95C5B719CCD6}"/>
          </ac:spMkLst>
        </pc:spChg>
        <pc:spChg chg="del topLvl">
          <ac:chgData name="Jennings, Stephanie (ME)" userId="cae05ffc-2b7d-4758-a51b-b1fcf04da5fa" providerId="ADAL" clId="{8B322270-4546-4C3D-A552-8C8E437056AF}" dt="2024-10-20T16:17:54.106" v="645" actId="478"/>
          <ac:spMkLst>
            <pc:docMk/>
            <pc:sldMk cId="2170667190" sldId="2147481588"/>
            <ac:spMk id="21" creationId="{218CA62C-D1E6-4AAE-4484-5EC01FE05D91}"/>
          </ac:spMkLst>
        </pc:spChg>
        <pc:spChg chg="mod topLvl">
          <ac:chgData name="Jennings, Stephanie (ME)" userId="cae05ffc-2b7d-4758-a51b-b1fcf04da5fa" providerId="ADAL" clId="{8B322270-4546-4C3D-A552-8C8E437056AF}" dt="2024-10-20T16:18:48.605" v="654" actId="14100"/>
          <ac:spMkLst>
            <pc:docMk/>
            <pc:sldMk cId="2170667190" sldId="2147481588"/>
            <ac:spMk id="22" creationId="{F9057D81-A2BE-D923-75D6-3B4E9E9A70E6}"/>
          </ac:spMkLst>
        </pc:spChg>
        <pc:spChg chg="mod topLvl">
          <ac:chgData name="Jennings, Stephanie (ME)" userId="cae05ffc-2b7d-4758-a51b-b1fcf04da5fa" providerId="ADAL" clId="{8B322270-4546-4C3D-A552-8C8E437056AF}" dt="2024-10-20T16:30:26.092" v="665" actId="478"/>
          <ac:spMkLst>
            <pc:docMk/>
            <pc:sldMk cId="2170667190" sldId="2147481588"/>
            <ac:spMk id="27" creationId="{206E657A-B8A3-EF06-0C5E-D5BCB15902E1}"/>
          </ac:spMkLst>
        </pc:spChg>
        <pc:spChg chg="del mod topLvl">
          <ac:chgData name="Jennings, Stephanie (ME)" userId="cae05ffc-2b7d-4758-a51b-b1fcf04da5fa" providerId="ADAL" clId="{8B322270-4546-4C3D-A552-8C8E437056AF}" dt="2024-10-20T16:30:26.092" v="665" actId="478"/>
          <ac:spMkLst>
            <pc:docMk/>
            <pc:sldMk cId="2170667190" sldId="2147481588"/>
            <ac:spMk id="28" creationId="{EE133743-F863-F6B3-6876-43A79350B54B}"/>
          </ac:spMkLst>
        </pc:spChg>
        <pc:spChg chg="mod topLvl">
          <ac:chgData name="Jennings, Stephanie (ME)" userId="cae05ffc-2b7d-4758-a51b-b1fcf04da5fa" providerId="ADAL" clId="{8B322270-4546-4C3D-A552-8C8E437056AF}" dt="2024-10-20T16:19:12.103" v="659" actId="478"/>
          <ac:spMkLst>
            <pc:docMk/>
            <pc:sldMk cId="2170667190" sldId="2147481588"/>
            <ac:spMk id="31" creationId="{7AFB9BE8-8C89-F98A-2A91-3E2BA8AB81D9}"/>
          </ac:spMkLst>
        </pc:spChg>
        <pc:spChg chg="del mod topLvl">
          <ac:chgData name="Jennings, Stephanie (ME)" userId="cae05ffc-2b7d-4758-a51b-b1fcf04da5fa" providerId="ADAL" clId="{8B322270-4546-4C3D-A552-8C8E437056AF}" dt="2024-10-20T16:19:12.103" v="659" actId="478"/>
          <ac:spMkLst>
            <pc:docMk/>
            <pc:sldMk cId="2170667190" sldId="2147481588"/>
            <ac:spMk id="32" creationId="{B2DB0FF2-9F81-645F-9CE4-75816BB57473}"/>
          </ac:spMkLst>
        </pc:spChg>
        <pc:grpChg chg="del mod">
          <ac:chgData name="Jennings, Stephanie (ME)" userId="cae05ffc-2b7d-4758-a51b-b1fcf04da5fa" providerId="ADAL" clId="{8B322270-4546-4C3D-A552-8C8E437056AF}" dt="2024-10-20T16:17:54.106" v="645" actId="478"/>
          <ac:grpSpMkLst>
            <pc:docMk/>
            <pc:sldMk cId="2170667190" sldId="2147481588"/>
            <ac:grpSpMk id="6" creationId="{3B480076-4357-6857-6ED4-0A3FAED5FA7B}"/>
          </ac:grpSpMkLst>
        </pc:grpChg>
        <pc:grpChg chg="del mod">
          <ac:chgData name="Jennings, Stephanie (ME)" userId="cae05ffc-2b7d-4758-a51b-b1fcf04da5fa" providerId="ADAL" clId="{8B322270-4546-4C3D-A552-8C8E437056AF}" dt="2024-10-20T16:30:26.092" v="665" actId="478"/>
          <ac:grpSpMkLst>
            <pc:docMk/>
            <pc:sldMk cId="2170667190" sldId="2147481588"/>
            <ac:grpSpMk id="26" creationId="{B862B933-7034-E030-A67F-4B0B9C7F781F}"/>
          </ac:grpSpMkLst>
        </pc:grpChg>
        <pc:grpChg chg="del mod">
          <ac:chgData name="Jennings, Stephanie (ME)" userId="cae05ffc-2b7d-4758-a51b-b1fcf04da5fa" providerId="ADAL" clId="{8B322270-4546-4C3D-A552-8C8E437056AF}" dt="2024-10-20T16:19:12.103" v="659" actId="478"/>
          <ac:grpSpMkLst>
            <pc:docMk/>
            <pc:sldMk cId="2170667190" sldId="2147481588"/>
            <ac:grpSpMk id="30" creationId="{4006725E-F1A6-2853-2C27-5BB5DC2328D0}"/>
          </ac:grpSpMkLst>
        </pc:grpChg>
      </pc:sldChg>
      <pc:sldChg chg="modSp mod">
        <pc:chgData name="Jennings, Stephanie (ME)" userId="cae05ffc-2b7d-4758-a51b-b1fcf04da5fa" providerId="ADAL" clId="{8B322270-4546-4C3D-A552-8C8E437056AF}" dt="2024-10-23T12:09:46.118" v="765" actId="20577"/>
        <pc:sldMkLst>
          <pc:docMk/>
          <pc:sldMk cId="3009931143" sldId="2147481710"/>
        </pc:sldMkLst>
        <pc:spChg chg="mod">
          <ac:chgData name="Jennings, Stephanie (ME)" userId="cae05ffc-2b7d-4758-a51b-b1fcf04da5fa" providerId="ADAL" clId="{8B322270-4546-4C3D-A552-8C8E437056AF}" dt="2024-10-17T21:54:30.557" v="334" actId="20577"/>
          <ac:spMkLst>
            <pc:docMk/>
            <pc:sldMk cId="3009931143" sldId="2147481710"/>
            <ac:spMk id="3" creationId="{68AA0D14-52B4-8911-9545-383E41E92506}"/>
          </ac:spMkLst>
        </pc:spChg>
        <pc:spChg chg="mod">
          <ac:chgData name="Jennings, Stephanie (ME)" userId="cae05ffc-2b7d-4758-a51b-b1fcf04da5fa" providerId="ADAL" clId="{8B322270-4546-4C3D-A552-8C8E437056AF}" dt="2024-10-23T12:09:46.118" v="765" actId="20577"/>
          <ac:spMkLst>
            <pc:docMk/>
            <pc:sldMk cId="3009931143" sldId="2147481710"/>
            <ac:spMk id="29" creationId="{07C34634-6732-F752-3CDA-8434E9E2A6A9}"/>
          </ac:spMkLst>
        </pc:spChg>
        <pc:graphicFrameChg chg="modGraphic">
          <ac:chgData name="Jennings, Stephanie (ME)" userId="cae05ffc-2b7d-4758-a51b-b1fcf04da5fa" providerId="ADAL" clId="{8B322270-4546-4C3D-A552-8C8E437056AF}" dt="2024-10-17T21:54:03.614" v="309" actId="20577"/>
          <ac:graphicFrameMkLst>
            <pc:docMk/>
            <pc:sldMk cId="3009931143" sldId="2147481710"/>
            <ac:graphicFrameMk id="5" creationId="{9BEB2D69-FB5F-D878-7A59-DB1EB54D0204}"/>
          </ac:graphicFrameMkLst>
        </pc:graphicFrameChg>
      </pc:sldChg>
      <pc:sldChg chg="del">
        <pc:chgData name="Jennings, Stephanie (ME)" userId="cae05ffc-2b7d-4758-a51b-b1fcf04da5fa" providerId="ADAL" clId="{8B322270-4546-4C3D-A552-8C8E437056AF}" dt="2024-10-17T20:08:13.488" v="0" actId="47"/>
        <pc:sldMkLst>
          <pc:docMk/>
          <pc:sldMk cId="362116731" sldId="2147481711"/>
        </pc:sldMkLst>
      </pc:sldChg>
      <pc:sldChg chg="addSp delSp modSp add del mod modClrScheme chgLayout">
        <pc:chgData name="Jennings, Stephanie (ME)" userId="cae05ffc-2b7d-4758-a51b-b1fcf04da5fa" providerId="ADAL" clId="{8B322270-4546-4C3D-A552-8C8E437056AF}" dt="2024-10-18T19:00:13.159" v="492" actId="2696"/>
        <pc:sldMkLst>
          <pc:docMk/>
          <pc:sldMk cId="2056377895" sldId="2147481711"/>
        </pc:sldMkLst>
        <pc:spChg chg="add del mod ord">
          <ac:chgData name="Jennings, Stephanie (ME)" userId="cae05ffc-2b7d-4758-a51b-b1fcf04da5fa" providerId="ADAL" clId="{8B322270-4546-4C3D-A552-8C8E437056AF}" dt="2024-10-17T22:09:07.049" v="341" actId="700"/>
          <ac:spMkLst>
            <pc:docMk/>
            <pc:sldMk cId="2056377895" sldId="2147481711"/>
            <ac:spMk id="2" creationId="{0BE0BCC7-26FB-F878-DA38-C3575539606D}"/>
          </ac:spMkLst>
        </pc:spChg>
        <pc:spChg chg="add del mod ord">
          <ac:chgData name="Jennings, Stephanie (ME)" userId="cae05ffc-2b7d-4758-a51b-b1fcf04da5fa" providerId="ADAL" clId="{8B322270-4546-4C3D-A552-8C8E437056AF}" dt="2024-10-17T22:09:07.049" v="341" actId="700"/>
          <ac:spMkLst>
            <pc:docMk/>
            <pc:sldMk cId="2056377895" sldId="2147481711"/>
            <ac:spMk id="3" creationId="{3B6C56FF-1A67-CE56-AA00-C15C6887FCBE}"/>
          </ac:spMkLst>
        </pc:spChg>
        <pc:spChg chg="add del mod ord">
          <ac:chgData name="Jennings, Stephanie (ME)" userId="cae05ffc-2b7d-4758-a51b-b1fcf04da5fa" providerId="ADAL" clId="{8B322270-4546-4C3D-A552-8C8E437056AF}" dt="2024-10-17T22:09:40.292" v="343" actId="700"/>
          <ac:spMkLst>
            <pc:docMk/>
            <pc:sldMk cId="2056377895" sldId="2147481711"/>
            <ac:spMk id="4" creationId="{A5333B5C-CD7A-33D5-D4A9-EEB525AE7B59}"/>
          </ac:spMkLst>
        </pc:spChg>
        <pc:spChg chg="del mod">
          <ac:chgData name="Jennings, Stephanie (ME)" userId="cae05ffc-2b7d-4758-a51b-b1fcf04da5fa" providerId="ADAL" clId="{8B322270-4546-4C3D-A552-8C8E437056AF}" dt="2024-10-17T22:10:21.411" v="349" actId="478"/>
          <ac:spMkLst>
            <pc:docMk/>
            <pc:sldMk cId="2056377895" sldId="2147481711"/>
            <ac:spMk id="6" creationId="{F40971EF-8DFD-C6AE-453C-5DDB27E707A3}"/>
          </ac:spMkLst>
        </pc:spChg>
        <pc:spChg chg="add del mod ord">
          <ac:chgData name="Jennings, Stephanie (ME)" userId="cae05ffc-2b7d-4758-a51b-b1fcf04da5fa" providerId="ADAL" clId="{8B322270-4546-4C3D-A552-8C8E437056AF}" dt="2024-10-17T22:09:40.292" v="343" actId="700"/>
          <ac:spMkLst>
            <pc:docMk/>
            <pc:sldMk cId="2056377895" sldId="2147481711"/>
            <ac:spMk id="7" creationId="{B7A88594-7F87-C9ED-80AA-A95836DCFE6A}"/>
          </ac:spMkLst>
        </pc:spChg>
        <pc:spChg chg="add mod ord">
          <ac:chgData name="Jennings, Stephanie (ME)" userId="cae05ffc-2b7d-4758-a51b-b1fcf04da5fa" providerId="ADAL" clId="{8B322270-4546-4C3D-A552-8C8E437056AF}" dt="2024-10-17T22:10:31.909" v="352" actId="1076"/>
          <ac:spMkLst>
            <pc:docMk/>
            <pc:sldMk cId="2056377895" sldId="2147481711"/>
            <ac:spMk id="9" creationId="{B86C2295-5191-E3C6-13A2-47584ABB8F2E}"/>
          </ac:spMkLst>
        </pc:spChg>
        <pc:spChg chg="add del mod ord">
          <ac:chgData name="Jennings, Stephanie (ME)" userId="cae05ffc-2b7d-4758-a51b-b1fcf04da5fa" providerId="ADAL" clId="{8B322270-4546-4C3D-A552-8C8E437056AF}" dt="2024-10-17T22:10:25.573" v="350" actId="478"/>
          <ac:spMkLst>
            <pc:docMk/>
            <pc:sldMk cId="2056377895" sldId="2147481711"/>
            <ac:spMk id="11" creationId="{DB1C3D3F-D4F8-C5B1-0CEA-2E565F5FDBCE}"/>
          </ac:spMkLst>
        </pc:spChg>
      </pc:sldChg>
      <pc:sldChg chg="addSp delSp modSp add mod modClrScheme chgLayout">
        <pc:chgData name="Jennings, Stephanie (ME)" userId="cae05ffc-2b7d-4758-a51b-b1fcf04da5fa" providerId="ADAL" clId="{8B322270-4546-4C3D-A552-8C8E437056AF}" dt="2024-10-20T17:03:55.884" v="722" actId="478"/>
        <pc:sldMkLst>
          <pc:docMk/>
          <pc:sldMk cId="458753530" sldId="2147482397"/>
        </pc:sldMkLst>
        <pc:spChg chg="add del mod ord">
          <ac:chgData name="Jennings, Stephanie (ME)" userId="cae05ffc-2b7d-4758-a51b-b1fcf04da5fa" providerId="ADAL" clId="{8B322270-4546-4C3D-A552-8C8E437056AF}" dt="2024-10-20T17:03:55.884" v="722" actId="478"/>
          <ac:spMkLst>
            <pc:docMk/>
            <pc:sldMk cId="458753530" sldId="2147482397"/>
            <ac:spMk id="3" creationId="{0E1B0DDB-7C7B-9CD7-FB6B-39AF115E581B}"/>
          </ac:spMkLst>
        </pc:spChg>
        <pc:spChg chg="mod ord">
          <ac:chgData name="Jennings, Stephanie (ME)" userId="cae05ffc-2b7d-4758-a51b-b1fcf04da5fa" providerId="ADAL" clId="{8B322270-4546-4C3D-A552-8C8E437056AF}" dt="2024-10-20T17:03:52.288" v="721" actId="700"/>
          <ac:spMkLst>
            <pc:docMk/>
            <pc:sldMk cId="458753530" sldId="2147482397"/>
            <ac:spMk id="4" creationId="{2563E7A2-3973-ACA7-0FB8-5FAA8A3F4C20}"/>
          </ac:spMkLst>
        </pc:spChg>
      </pc:sldChg>
      <pc:sldChg chg="delSp modSp mod ord">
        <pc:chgData name="Jennings, Stephanie (ME)" userId="cae05ffc-2b7d-4758-a51b-b1fcf04da5fa" providerId="ADAL" clId="{8B322270-4546-4C3D-A552-8C8E437056AF}" dt="2024-10-20T17:08:37.901" v="741" actId="478"/>
        <pc:sldMkLst>
          <pc:docMk/>
          <pc:sldMk cId="3287332881" sldId="2147482398"/>
        </pc:sldMkLst>
        <pc:spChg chg="mod">
          <ac:chgData name="Jennings, Stephanie (ME)" userId="cae05ffc-2b7d-4758-a51b-b1fcf04da5fa" providerId="ADAL" clId="{8B322270-4546-4C3D-A552-8C8E437056AF}" dt="2024-10-20T16:01:37.882" v="632" actId="14100"/>
          <ac:spMkLst>
            <pc:docMk/>
            <pc:sldMk cId="3287332881" sldId="2147482398"/>
            <ac:spMk id="3" creationId="{CA7071E0-2290-7F61-0929-76C9B11528EE}"/>
          </ac:spMkLst>
        </pc:spChg>
        <pc:spChg chg="del">
          <ac:chgData name="Jennings, Stephanie (ME)" userId="cae05ffc-2b7d-4758-a51b-b1fcf04da5fa" providerId="ADAL" clId="{8B322270-4546-4C3D-A552-8C8E437056AF}" dt="2024-10-20T17:08:37.901" v="741" actId="478"/>
          <ac:spMkLst>
            <pc:docMk/>
            <pc:sldMk cId="3287332881" sldId="2147482398"/>
            <ac:spMk id="4" creationId="{8E1601C3-2BA2-74F1-D7CB-09D88E87A731}"/>
          </ac:spMkLst>
        </pc:spChg>
      </pc:sldChg>
      <pc:sldChg chg="modSp mod ord">
        <pc:chgData name="Jennings, Stephanie (ME)" userId="cae05ffc-2b7d-4758-a51b-b1fcf04da5fa" providerId="ADAL" clId="{8B322270-4546-4C3D-A552-8C8E437056AF}" dt="2024-10-20T16:07:10.808" v="641" actId="404"/>
        <pc:sldMkLst>
          <pc:docMk/>
          <pc:sldMk cId="3330815321" sldId="2147482399"/>
        </pc:sldMkLst>
        <pc:spChg chg="mod">
          <ac:chgData name="Jennings, Stephanie (ME)" userId="cae05ffc-2b7d-4758-a51b-b1fcf04da5fa" providerId="ADAL" clId="{8B322270-4546-4C3D-A552-8C8E437056AF}" dt="2024-10-20T16:07:10.808" v="641" actId="404"/>
          <ac:spMkLst>
            <pc:docMk/>
            <pc:sldMk cId="3330815321" sldId="2147482399"/>
            <ac:spMk id="3" creationId="{52A818D2-86FF-C45F-2636-DC299DAA1A1C}"/>
          </ac:spMkLst>
        </pc:spChg>
      </pc:sldChg>
      <pc:sldChg chg="addSp delSp modSp new mod modClrScheme chgLayout">
        <pc:chgData name="Jennings, Stephanie (ME)" userId="cae05ffc-2b7d-4758-a51b-b1fcf04da5fa" providerId="ADAL" clId="{8B322270-4546-4C3D-A552-8C8E437056AF}" dt="2024-10-23T17:12:27.341" v="774" actId="20577"/>
        <pc:sldMkLst>
          <pc:docMk/>
          <pc:sldMk cId="910104894" sldId="2147482400"/>
        </pc:sldMkLst>
        <pc:spChg chg="del">
          <ac:chgData name="Jennings, Stephanie (ME)" userId="cae05ffc-2b7d-4758-a51b-b1fcf04da5fa" providerId="ADAL" clId="{8B322270-4546-4C3D-A552-8C8E437056AF}" dt="2024-10-20T16:48:14.502" v="670" actId="478"/>
          <ac:spMkLst>
            <pc:docMk/>
            <pc:sldMk cId="910104894" sldId="2147482400"/>
            <ac:spMk id="2" creationId="{3F7744AC-EBE6-B818-9705-B4D8D3120F51}"/>
          </ac:spMkLst>
        </pc:spChg>
        <pc:spChg chg="mod ord">
          <ac:chgData name="Jennings, Stephanie (ME)" userId="cae05ffc-2b7d-4758-a51b-b1fcf04da5fa" providerId="ADAL" clId="{8B322270-4546-4C3D-A552-8C8E437056AF}" dt="2024-10-23T17:12:27.341" v="774" actId="20577"/>
          <ac:spMkLst>
            <pc:docMk/>
            <pc:sldMk cId="910104894" sldId="2147482400"/>
            <ac:spMk id="3" creationId="{FDD028A1-5BE1-31ED-462A-4A54BB4C06E2}"/>
          </ac:spMkLst>
        </pc:spChg>
        <pc:spChg chg="del mod ord">
          <ac:chgData name="Jennings, Stephanie (ME)" userId="cae05ffc-2b7d-4758-a51b-b1fcf04da5fa" providerId="ADAL" clId="{8B322270-4546-4C3D-A552-8C8E437056AF}" dt="2024-10-20T17:07:41.697" v="740" actId="478"/>
          <ac:spMkLst>
            <pc:docMk/>
            <pc:sldMk cId="910104894" sldId="2147482400"/>
            <ac:spMk id="4" creationId="{6E97894F-1327-27D7-B62D-46D2AC90BA2E}"/>
          </ac:spMkLst>
        </pc:spChg>
        <pc:spChg chg="add del mod">
          <ac:chgData name="Jennings, Stephanie (ME)" userId="cae05ffc-2b7d-4758-a51b-b1fcf04da5fa" providerId="ADAL" clId="{8B322270-4546-4C3D-A552-8C8E437056AF}" dt="2024-10-20T16:48:42.070" v="678" actId="478"/>
          <ac:spMkLst>
            <pc:docMk/>
            <pc:sldMk cId="910104894" sldId="2147482400"/>
            <ac:spMk id="5" creationId="{B289CAC2-08C6-F60E-1714-069C250586CD}"/>
          </ac:spMkLst>
        </pc:spChg>
        <pc:spChg chg="add del mod">
          <ac:chgData name="Jennings, Stephanie (ME)" userId="cae05ffc-2b7d-4758-a51b-b1fcf04da5fa" providerId="ADAL" clId="{8B322270-4546-4C3D-A552-8C8E437056AF}" dt="2024-10-20T16:48:38.725" v="675" actId="478"/>
          <ac:spMkLst>
            <pc:docMk/>
            <pc:sldMk cId="910104894" sldId="2147482400"/>
            <ac:spMk id="6" creationId="{FE44AD6B-6ABA-49D8-5426-CE4798901BD0}"/>
          </ac:spMkLst>
        </pc:spChg>
        <pc:spChg chg="add del mod">
          <ac:chgData name="Jennings, Stephanie (ME)" userId="cae05ffc-2b7d-4758-a51b-b1fcf04da5fa" providerId="ADAL" clId="{8B322270-4546-4C3D-A552-8C8E437056AF}" dt="2024-10-20T16:48:37.670" v="674" actId="478"/>
          <ac:spMkLst>
            <pc:docMk/>
            <pc:sldMk cId="910104894" sldId="2147482400"/>
            <ac:spMk id="7" creationId="{22641324-7512-4424-69D7-6BCF294ED446}"/>
          </ac:spMkLst>
        </pc:spChg>
        <pc:spChg chg="add del mod ord">
          <ac:chgData name="Jennings, Stephanie (ME)" userId="cae05ffc-2b7d-4758-a51b-b1fcf04da5fa" providerId="ADAL" clId="{8B322270-4546-4C3D-A552-8C8E437056AF}" dt="2024-10-20T17:10:05.584" v="747" actId="478"/>
          <ac:spMkLst>
            <pc:docMk/>
            <pc:sldMk cId="910104894" sldId="2147482400"/>
            <ac:spMk id="9" creationId="{6ECE932B-7B47-0680-0B96-9B4AAF0A6A6B}"/>
          </ac:spMkLst>
        </pc:spChg>
        <pc:graphicFrameChg chg="add mod modGraphic">
          <ac:chgData name="Jennings, Stephanie (ME)" userId="cae05ffc-2b7d-4758-a51b-b1fcf04da5fa" providerId="ADAL" clId="{8B322270-4546-4C3D-A552-8C8E437056AF}" dt="2024-10-23T13:43:23.903" v="768" actId="167"/>
          <ac:graphicFrameMkLst>
            <pc:docMk/>
            <pc:sldMk cId="910104894" sldId="2147482400"/>
            <ac:graphicFrameMk id="8" creationId="{1E3E6135-59A9-8D23-052E-3E8A20AD6202}"/>
          </ac:graphicFrameMkLst>
        </pc:graphicFrameChg>
      </pc:sldChg>
      <pc:sldChg chg="new del">
        <pc:chgData name="Jennings, Stephanie (ME)" userId="cae05ffc-2b7d-4758-a51b-b1fcf04da5fa" providerId="ADAL" clId="{8B322270-4546-4C3D-A552-8C8E437056AF}" dt="2024-10-20T16:37:15.877" v="667" actId="47"/>
        <pc:sldMkLst>
          <pc:docMk/>
          <pc:sldMk cId="1106029718" sldId="2147482400"/>
        </pc:sldMkLst>
      </pc:sldChg>
      <pc:sldChg chg="new del">
        <pc:chgData name="Jennings, Stephanie (ME)" userId="cae05ffc-2b7d-4758-a51b-b1fcf04da5fa" providerId="ADAL" clId="{8B322270-4546-4C3D-A552-8C8E437056AF}" dt="2024-10-20T17:02:34.905" v="711" actId="680"/>
        <pc:sldMkLst>
          <pc:docMk/>
          <pc:sldMk cId="1719506752" sldId="214748240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619696176008382E-2"/>
          <c:y val="3.1476997578692496E-2"/>
          <c:w val="0.97276060764798322"/>
          <c:h val="0.93704600484261502"/>
        </c:manualLayout>
      </c:layout>
      <c:barChart>
        <c:barDir val="col"/>
        <c:grouping val="stacked"/>
        <c:varyColors val="0"/>
        <c:ser>
          <c:idx val="0"/>
          <c:order val="0"/>
          <c:spPr>
            <a:noFill/>
            <a:ln>
              <a:noFill/>
            </a:ln>
          </c:spPr>
          <c:invertIfNegative val="0"/>
          <c:dPt>
            <c:idx val="0"/>
            <c:invertIfNegative val="0"/>
            <c:bubble3D val="0"/>
            <c:spPr>
              <a:solidFill>
                <a:srgbClr val="B1B3B3"/>
              </a:solidFill>
              <a:ln>
                <a:noFill/>
              </a:ln>
            </c:spPr>
            <c:extLst>
              <c:ext xmlns:c16="http://schemas.microsoft.com/office/drawing/2014/chart" uri="{C3380CC4-5D6E-409C-BE32-E72D297353CC}">
                <c16:uniqueId val="{00000000-27A6-4A74-B11A-FB881D0AF639}"/>
              </c:ext>
            </c:extLst>
          </c:dPt>
          <c:dPt>
            <c:idx val="5"/>
            <c:invertIfNegative val="0"/>
            <c:bubble3D val="0"/>
            <c:spPr>
              <a:solidFill>
                <a:srgbClr val="B1B3B3"/>
              </a:solidFill>
              <a:ln>
                <a:noFill/>
              </a:ln>
            </c:spPr>
            <c:extLst>
              <c:ext xmlns:c16="http://schemas.microsoft.com/office/drawing/2014/chart" uri="{C3380CC4-5D6E-409C-BE32-E72D297353CC}">
                <c16:uniqueId val="{00000001-27A6-4A74-B11A-FB881D0AF639}"/>
              </c:ext>
            </c:extLst>
          </c:dPt>
          <c:val>
            <c:numRef>
              <c:f>Sheet1!$A$1:$F$1</c:f>
              <c:numCache>
                <c:formatCode>General</c:formatCode>
                <c:ptCount val="6"/>
                <c:pt idx="0">
                  <c:v>6000</c:v>
                </c:pt>
                <c:pt idx="1">
                  <c:v>10020</c:v>
                </c:pt>
                <c:pt idx="2">
                  <c:v>16224.999999999998</c:v>
                </c:pt>
                <c:pt idx="3">
                  <c:v>18225</c:v>
                </c:pt>
                <c:pt idx="4">
                  <c:v>19680.999999999996</c:v>
                </c:pt>
                <c:pt idx="5">
                  <c:v>9501.2999999999993</c:v>
                </c:pt>
              </c:numCache>
            </c:numRef>
          </c:val>
          <c:extLst>
            <c:ext xmlns:c16="http://schemas.microsoft.com/office/drawing/2014/chart" uri="{C3380CC4-5D6E-409C-BE32-E72D297353CC}">
              <c16:uniqueId val="{00000002-27A6-4A74-B11A-FB881D0AF639}"/>
            </c:ext>
          </c:extLst>
        </c:ser>
        <c:ser>
          <c:idx val="1"/>
          <c:order val="1"/>
          <c:spPr>
            <a:solidFill>
              <a:srgbClr val="B1B3B3"/>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3-27A6-4A74-B11A-FB881D0AF639}"/>
              </c:ext>
            </c:extLst>
          </c:dPt>
          <c:dPt>
            <c:idx val="5"/>
            <c:invertIfNegative val="0"/>
            <c:bubble3D val="0"/>
            <c:spPr>
              <a:solidFill>
                <a:schemeClr val="accent2"/>
              </a:solidFill>
              <a:ln>
                <a:noFill/>
              </a:ln>
            </c:spPr>
            <c:extLst>
              <c:ext xmlns:c16="http://schemas.microsoft.com/office/drawing/2014/chart" uri="{C3380CC4-5D6E-409C-BE32-E72D297353CC}">
                <c16:uniqueId val="{00000004-27A6-4A74-B11A-FB881D0AF639}"/>
              </c:ext>
            </c:extLst>
          </c:dPt>
          <c:val>
            <c:numRef>
              <c:f>Sheet1!$A$2:$F$2</c:f>
              <c:numCache>
                <c:formatCode>General</c:formatCode>
                <c:ptCount val="6"/>
                <c:pt idx="0">
                  <c:v>4020</c:v>
                </c:pt>
                <c:pt idx="1">
                  <c:v>3000</c:v>
                </c:pt>
                <c:pt idx="2">
                  <c:v>0</c:v>
                </c:pt>
                <c:pt idx="3">
                  <c:v>501.29999999999927</c:v>
                </c:pt>
                <c:pt idx="4">
                  <c:v>0</c:v>
                </c:pt>
                <c:pt idx="5">
                  <c:v>7847.7000000000007</c:v>
                </c:pt>
              </c:numCache>
            </c:numRef>
          </c:val>
          <c:extLst>
            <c:ext xmlns:c16="http://schemas.microsoft.com/office/drawing/2014/chart" uri="{C3380CC4-5D6E-409C-BE32-E72D297353CC}">
              <c16:uniqueId val="{00000005-27A6-4A74-B11A-FB881D0AF639}"/>
            </c:ext>
          </c:extLst>
        </c:ser>
        <c:ser>
          <c:idx val="2"/>
          <c:order val="2"/>
          <c:spPr>
            <a:solidFill>
              <a:schemeClr val="accent2"/>
            </a:solid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6-27A6-4A74-B11A-FB881D0AF639}"/>
              </c:ext>
            </c:extLst>
          </c:dPt>
          <c:dPt>
            <c:idx val="5"/>
            <c:invertIfNegative val="0"/>
            <c:bubble3D val="0"/>
            <c:spPr>
              <a:solidFill>
                <a:schemeClr val="tx2"/>
              </a:solidFill>
              <a:ln>
                <a:noFill/>
              </a:ln>
            </c:spPr>
            <c:extLst>
              <c:ext xmlns:c16="http://schemas.microsoft.com/office/drawing/2014/chart" uri="{C3380CC4-5D6E-409C-BE32-E72D297353CC}">
                <c16:uniqueId val="{00000007-27A6-4A74-B11A-FB881D0AF639}"/>
              </c:ext>
            </c:extLst>
          </c:dPt>
          <c:val>
            <c:numRef>
              <c:f>Sheet1!$A$3:$F$3</c:f>
              <c:numCache>
                <c:formatCode>General</c:formatCode>
                <c:ptCount val="6"/>
                <c:pt idx="0">
                  <c:v>0</c:v>
                </c:pt>
                <c:pt idx="1">
                  <c:v>373</c:v>
                </c:pt>
                <c:pt idx="2">
                  <c:v>2000.0000000000018</c:v>
                </c:pt>
                <c:pt idx="3">
                  <c:v>954.70000000000073</c:v>
                </c:pt>
                <c:pt idx="4">
                  <c:v>500</c:v>
                </c:pt>
                <c:pt idx="5">
                  <c:v>2192.9999999999964</c:v>
                </c:pt>
              </c:numCache>
            </c:numRef>
          </c:val>
          <c:extLst>
            <c:ext xmlns:c16="http://schemas.microsoft.com/office/drawing/2014/chart" uri="{C3380CC4-5D6E-409C-BE32-E72D297353CC}">
              <c16:uniqueId val="{00000008-27A6-4A74-B11A-FB881D0AF639}"/>
            </c:ext>
          </c:extLst>
        </c:ser>
        <c:ser>
          <c:idx val="3"/>
          <c:order val="3"/>
          <c:spPr>
            <a:solidFill>
              <a:schemeClr val="tx2"/>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9-27A6-4A74-B11A-FB881D0AF639}"/>
              </c:ext>
            </c:extLst>
          </c:dPt>
          <c:dPt>
            <c:idx val="5"/>
            <c:invertIfNegative val="0"/>
            <c:bubble3D val="0"/>
            <c:spPr>
              <a:solidFill>
                <a:schemeClr val="accent6"/>
              </a:solidFill>
              <a:ln>
                <a:noFill/>
              </a:ln>
            </c:spPr>
            <c:extLst>
              <c:ext xmlns:c16="http://schemas.microsoft.com/office/drawing/2014/chart" uri="{C3380CC4-5D6E-409C-BE32-E72D297353CC}">
                <c16:uniqueId val="{0000000A-27A6-4A74-B11A-FB881D0AF639}"/>
              </c:ext>
            </c:extLst>
          </c:dPt>
          <c:val>
            <c:numRef>
              <c:f>Sheet1!$A$4:$F$4</c:f>
              <c:numCache>
                <c:formatCode>General</c:formatCode>
                <c:ptCount val="6"/>
                <c:pt idx="0">
                  <c:v>0</c:v>
                </c:pt>
                <c:pt idx="1">
                  <c:v>2193</c:v>
                </c:pt>
                <c:pt idx="2">
                  <c:v>0</c:v>
                </c:pt>
                <c:pt idx="3">
                  <c:v>0</c:v>
                </c:pt>
                <c:pt idx="4">
                  <c:v>0</c:v>
                </c:pt>
                <c:pt idx="5">
                  <c:v>639</c:v>
                </c:pt>
              </c:numCache>
            </c:numRef>
          </c:val>
          <c:extLst>
            <c:ext xmlns:c16="http://schemas.microsoft.com/office/drawing/2014/chart" uri="{C3380CC4-5D6E-409C-BE32-E72D297353CC}">
              <c16:uniqueId val="{0000000B-27A6-4A74-B11A-FB881D0AF639}"/>
            </c:ext>
          </c:extLst>
        </c:ser>
        <c:ser>
          <c:idx val="4"/>
          <c:order val="4"/>
          <c:spPr>
            <a:solidFill>
              <a:schemeClr val="accent6"/>
            </a:solidFill>
            <a:ln>
              <a:noFill/>
            </a:ln>
          </c:spPr>
          <c:invertIfNegative val="0"/>
          <c:val>
            <c:numRef>
              <c:f>Sheet1!$A$5:$F$5</c:f>
              <c:numCache>
                <c:formatCode>General</c:formatCode>
                <c:ptCount val="6"/>
                <c:pt idx="1">
                  <c:v>639</c:v>
                </c:pt>
                <c:pt idx="2">
                  <c:v>0</c:v>
                </c:pt>
                <c:pt idx="3">
                  <c:v>0</c:v>
                </c:pt>
                <c:pt idx="4">
                  <c:v>0</c:v>
                </c:pt>
              </c:numCache>
            </c:numRef>
          </c:val>
          <c:extLst>
            <c:ext xmlns:c16="http://schemas.microsoft.com/office/drawing/2014/chart" uri="{C3380CC4-5D6E-409C-BE32-E72D297353CC}">
              <c16:uniqueId val="{0000000C-27A6-4A74-B11A-FB881D0AF639}"/>
            </c:ext>
          </c:extLst>
        </c:ser>
        <c:dLbls>
          <c:showLegendKey val="0"/>
          <c:showVal val="0"/>
          <c:showCatName val="0"/>
          <c:showSerName val="0"/>
          <c:showPercent val="0"/>
          <c:showBubbleSize val="0"/>
        </c:dLbls>
        <c:gapWidth val="60"/>
        <c:overlap val="100"/>
        <c:axId val="443575551"/>
        <c:axId val="1"/>
      </c:barChart>
      <c:catAx>
        <c:axId val="443575551"/>
        <c:scaling>
          <c:orientation val="minMax"/>
        </c:scaling>
        <c:delete val="0"/>
        <c:axPos val="b"/>
        <c:majorGridlines>
          <c:spPr>
            <a:ln>
              <a:noFill/>
            </a:ln>
          </c:spPr>
        </c:majorGridlines>
        <c:majorTickMark val="out"/>
        <c:minorTickMark val="none"/>
        <c:tickLblPos val="none"/>
        <c:spPr>
          <a:ln w="9525" cmpd="sng" algn="ctr">
            <a:solidFill>
              <a:srgbClr val="9A9A9A"/>
            </a:solidFill>
            <a:prstDash val="solid"/>
          </a:ln>
        </c:spPr>
        <c:txPr>
          <a:bodyPr wrap="none"/>
          <a:lstStyle/>
          <a:p>
            <a:pPr>
              <a:defRPr sz="1100" kern="1200">
                <a:latin typeface="+mn-lt"/>
                <a:ea typeface="+mn-ea"/>
                <a:cs typeface="+mn-cs"/>
              </a:defRPr>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cmpd="sng" algn="ctr">
            <a:solidFill>
              <a:srgbClr val="9A9A9A"/>
            </a:solidFill>
            <a:prstDash val="solid"/>
          </a:ln>
        </c:spPr>
        <c:txPr>
          <a:bodyPr wrap="none"/>
          <a:lstStyle/>
          <a:p>
            <a:pPr>
              <a:defRPr sz="1100" kern="1200">
                <a:latin typeface="+mn-lt"/>
                <a:ea typeface="+mn-ea"/>
                <a:cs typeface="+mn-cs"/>
              </a:defRPr>
            </a:pPr>
            <a:endParaRPr lang="en-US"/>
          </a:p>
        </c:txPr>
        <c:crossAx val="443575551"/>
        <c:crosses val="min"/>
        <c:crossBetween val="between"/>
        <c:majorUnit val="5000"/>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1:$A$22</cx:f>
        <cx:lvl ptCount="22">
          <cx:pt idx="0">Binder</cx:pt>
          <cx:pt idx="1">Electrolyte</cx:pt>
          <cx:pt idx="2">Cathode</cx:pt>
          <cx:pt idx="3">Anode</cx:pt>
          <cx:pt idx="4">Separator</cx:pt>
        </cx:lvl>
        <cx:lvl ptCount="0"/>
        <cx:lvl ptCount="0"/>
      </cx:strDim>
      <cx:numDim type="size">
        <cx:f>Sheet1!$C$1:$C$22</cx:f>
        <cx:lvl ptCount="22" formatCode="General">
          <cx:pt idx="0">3</cx:pt>
          <cx:pt idx="1">7</cx:pt>
          <cx:pt idx="2">35</cx:pt>
          <cx:pt idx="3">13</cx:pt>
          <cx:pt idx="4">7</cx:pt>
        </cx:lvl>
      </cx:numDim>
    </cx:data>
  </cx:chartData>
  <cx:chart>
    <cx:plotArea>
      <cx:plotAreaRegion>
        <cx:series layoutId="sunburst" uniqueId="{C2D667D6-D780-4167-9379-327757B2F2CD}">
          <cx:dataPt idx="0">
            <cx:spPr>
              <a:solidFill>
                <a:srgbClr val="EF9A1D"/>
              </a:solidFill>
            </cx:spPr>
          </cx:dataPt>
          <cx:dataPt idx="1">
            <cx:spPr>
              <a:solidFill>
                <a:srgbClr val="F14F23"/>
              </a:solidFill>
            </cx:spPr>
          </cx:dataPt>
          <cx:dataPt idx="2">
            <cx:spPr>
              <a:solidFill>
                <a:srgbClr val="EF9A1D"/>
              </a:solidFill>
            </cx:spPr>
          </cx:dataPt>
          <cx:dataPt idx="3">
            <cx:spPr>
              <a:solidFill>
                <a:srgbClr val="EF9A1D"/>
              </a:solidFill>
            </cx:spPr>
          </cx:dataPt>
          <cx:dataPt idx="4">
            <cx:spPr>
              <a:solidFill>
                <a:srgbClr val="FFC000"/>
              </a:solidFill>
            </cx:spPr>
          </cx:dataPt>
          <cx:dataPt idx="5">
            <cx:spPr>
              <a:solidFill>
                <a:srgbClr val="F9A21B"/>
              </a:solidFill>
            </cx:spPr>
          </cx:dataPt>
          <cx:dataLabels>
            <cx:txPr>
              <a:bodyPr spcFirstLastPara="1" vertOverflow="ellipsis" horzOverflow="overflow" wrap="square" lIns="0" tIns="0" rIns="0" bIns="0" anchor="ctr" anchorCtr="1"/>
              <a:lstStyle/>
              <a:p>
                <a:pPr algn="ctr" rtl="0">
                  <a:defRPr sz="800">
                    <a:solidFill>
                      <a:schemeClr val="bg1"/>
                    </a:solidFill>
                  </a:defRPr>
                </a:pPr>
                <a:endParaRPr lang="en-US" sz="800" b="0" i="0" u="none" strike="noStrike" baseline="0">
                  <a:solidFill>
                    <a:schemeClr val="bg1"/>
                  </a:solidFill>
                  <a:latin typeface="Arial"/>
                </a:endParaRPr>
              </a:p>
            </cx:txPr>
            <cx:dataLabel idx="4">
              <cx:txPr>
                <a:bodyPr spcFirstLastPara="1" vertOverflow="ellipsis" horzOverflow="overflow" wrap="square" lIns="0" tIns="0" rIns="0" bIns="0" anchor="ctr" anchorCtr="1"/>
                <a:lstStyle/>
                <a:p>
                  <a:pPr algn="ctr" rtl="0">
                    <a:defRPr>
                      <a:solidFill>
                        <a:schemeClr val="bg1"/>
                      </a:solidFill>
                    </a:defRPr>
                  </a:pPr>
                  <a:r>
                    <a:rPr lang="en-US" sz="800" b="0" i="0" u="none" strike="noStrike" baseline="0">
                      <a:solidFill>
                        <a:schemeClr val="bg1"/>
                      </a:solidFill>
                      <a:latin typeface="Arial"/>
                    </a:rPr>
                    <a:t>Separator</a:t>
                  </a:r>
                </a:p>
              </cx:txPr>
            </cx:dataLabel>
          </cx:dataLabels>
          <cx:dataId val="0"/>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omments/modernComment_7FFFF7E4_7F19EFAE.xml><?xml version="1.0" encoding="utf-8"?>
<p188:cmLst xmlns:a="http://schemas.openxmlformats.org/drawingml/2006/main" xmlns:r="http://schemas.openxmlformats.org/officeDocument/2006/relationships" xmlns:p188="http://schemas.microsoft.com/office/powerpoint/2018/8/main">
  <p188:cm id="{FF01802E-46F2-42FB-B517-B686E47FEAE0}" authorId="{7D21419F-C602-D87E-AE6B-E0B41B4EB096}" created="2024-10-15T19:44:33.832">
    <ac:deMkLst xmlns:ac="http://schemas.microsoft.com/office/drawing/2013/main/command">
      <pc:docMk xmlns:pc="http://schemas.microsoft.com/office/powerpoint/2013/main/command"/>
      <pc:sldMk xmlns:pc="http://schemas.microsoft.com/office/powerpoint/2013/main/command" cId="2132406190" sldId="2147481572"/>
      <ac:picMk id="2" creationId="{332C58F5-1E83-5442-E75B-00C65C81EF7D}"/>
    </ac:deMkLst>
    <p188:replyLst>
      <p188:reply id="{7032F699-19EA-4E4C-8325-E8648F535268}" authorId="{EAC91130-77CA-44B0-4C7B-9C040093B22E}" created="2024-10-18T01:45:16.986">
        <p188:txBody>
          <a:bodyPr/>
          <a:lstStyle/>
          <a:p>
            <a:r>
              <a:rPr lang="en-US"/>
              <a:t>Perhaps this is the source is Office of Policy interactive map, https://www.energy.gov/invest</a:t>
            </a:r>
          </a:p>
        </p188:txBody>
      </p188:reply>
      <p188:reply id="{3D94C142-2F7E-472E-A28B-D25D6C68370A}" authorId="{7D21419F-C602-D87E-AE6B-E0B41B4EB096}" created="2024-10-18T15:32:06.023">
        <p188:txBody>
          <a:bodyPr/>
          <a:lstStyle/>
          <a:p>
            <a:r>
              <a:rPr lang="en-US"/>
              <a:t>Yup, that’s where we found it. Thanks! </a:t>
            </a:r>
          </a:p>
        </p188:txBody>
      </p188:reply>
    </p188:replyLst>
    <p188:txBody>
      <a:bodyPr/>
      <a:lstStyle/>
      <a:p>
        <a:r>
          <a:rPr lang="en-US"/>
          <a:t>Confirm source of map. Maybe zoom in to Michigan to add to slide</a:t>
        </a:r>
      </a:p>
    </p188:txBody>
  </p188:cm>
  <p188:cm id="{39D3A1B7-4275-4986-8F0F-AF80F1D85060}" authorId="{7D21419F-C602-D87E-AE6B-E0B41B4EB096}" created="2024-10-17T20:24:25.310">
    <ac:deMkLst xmlns:ac="http://schemas.microsoft.com/office/drawing/2013/main/command">
      <pc:docMk xmlns:pc="http://schemas.microsoft.com/office/powerpoint/2013/main/command"/>
      <pc:sldMk xmlns:pc="http://schemas.microsoft.com/office/powerpoint/2013/main/command" cId="2132406190" sldId="2147481572"/>
      <ac:spMk id="4" creationId="{BD2DACE4-684D-0705-3A8B-7C8FA97B7B13}"/>
    </ac:deMkLst>
    <p188:txBody>
      <a:bodyPr/>
      <a:lstStyle/>
      <a:p>
        <a:r>
          <a:rPr lang="en-US"/>
          <a:t>Note: these numbers are for the US. Can update for upper Midwest, if you would like</a:t>
        </a:r>
      </a:p>
    </p188:txBody>
  </p188:cm>
</p188:cmLst>
</file>

<file path=ppt/comments/modernComment_7FFFF7EC_E4BCCA82.xml><?xml version="1.0" encoding="utf-8"?>
<p188:cmLst xmlns:a="http://schemas.openxmlformats.org/drawingml/2006/main" xmlns:r="http://schemas.openxmlformats.org/officeDocument/2006/relationships" xmlns:p188="http://schemas.microsoft.com/office/powerpoint/2018/8/main">
  <p188:cm id="{47ACB18C-BAE2-43DF-9F50-96FD85C773DE}" authorId="{7D21419F-C602-D87E-AE6B-E0B41B4EB096}" status="resolved" created="2024-10-15T20:00:30.342" complete="100000">
    <pc:sldMkLst xmlns:pc="http://schemas.microsoft.com/office/powerpoint/2013/main/command">
      <pc:docMk/>
      <pc:sldMk cId="3837577858" sldId="2147481580"/>
    </pc:sldMkLst>
    <p188:replyLst>
      <p188:reply id="{7FE222FD-1133-4223-BD67-D7E305645E57}" authorId="{EAC91130-77CA-44B0-4C7B-9C040093B22E}" created="2024-10-18T01:48:10.989">
        <p188:txBody>
          <a:bodyPr/>
          <a:lstStyle/>
          <a:p>
            <a:r>
              <a:rPr lang="en-US"/>
              <a:t>Battery Material Processing and Battery ​
Manufacturing Grants: Announced in September 2024, should be under "selected for negotiation"</a:t>
            </a:r>
          </a:p>
        </p188:txBody>
        <p188:extLst>
          <p:ext xmlns:p="http://schemas.openxmlformats.org/presentationml/2006/main" uri="{57CB4572-C831-44C2-8A1C-0ADB6CCDFE69}">
            <p223:reactions xmlns:p223="http://schemas.microsoft.com/office/powerpoint/2022/03/main">
              <p223:rxn type="👍">
                <p223:instance time="2024-10-18T15:27:39.783" authorId="{7D21419F-C602-D87E-AE6B-E0B41B4EB096}"/>
              </p223:rxn>
            </p223:reactions>
          </p:ext>
        </p188:extLst>
      </p188:reply>
    </p188:replyLst>
    <p188:txBody>
      <a:bodyPr/>
      <a:lstStyle/>
      <a:p>
        <a:r>
          <a:rPr lang="en-US"/>
          <a:t>Reach out to FOA manager; 40207 -- Julie; 50143 - Jen; 48c -  Sarma; Consumer Electronics -- Jen </a:t>
        </a:r>
      </a:p>
    </p188:txBody>
  </p188:cm>
</p188: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49C484-A342-48C3-B0B4-F8E1BA7C92F7}"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29D154A-CA6D-4FEC-9D1B-B74A8E831CAF}">
      <dgm:prSet custT="1"/>
      <dgm:spPr>
        <a:solidFill>
          <a:schemeClr val="accent2"/>
        </a:solidFill>
      </dgm:spPr>
      <dgm:t>
        <a:bodyPr/>
        <a:lstStyle/>
        <a:p>
          <a:pPr>
            <a:buFont typeface="System Font Regular"/>
            <a:buChar char="→"/>
          </a:pPr>
          <a:r>
            <a:rPr lang="en-US" sz="2000" b="1" i="0" dirty="0">
              <a:latin typeface="+mj-lt"/>
            </a:rPr>
            <a:t>Program Overview</a:t>
          </a:r>
        </a:p>
      </dgm:t>
    </dgm:pt>
    <dgm:pt modelId="{677D35BF-8E25-4A23-A8BF-A2372305DAD8}" type="parTrans" cxnId="{96FBA19B-4B00-4C97-9845-CCDA058629AE}">
      <dgm:prSet/>
      <dgm:spPr/>
      <dgm:t>
        <a:bodyPr/>
        <a:lstStyle/>
        <a:p>
          <a:endParaRPr lang="en-US" sz="2000">
            <a:latin typeface="+mj-lt"/>
          </a:endParaRPr>
        </a:p>
      </dgm:t>
    </dgm:pt>
    <dgm:pt modelId="{6A162DBC-DBF4-4BC6-86E9-EF6A3CC67D45}" type="sibTrans" cxnId="{96FBA19B-4B00-4C97-9845-CCDA058629AE}">
      <dgm:prSet/>
      <dgm:spPr/>
      <dgm:t>
        <a:bodyPr/>
        <a:lstStyle/>
        <a:p>
          <a:endParaRPr lang="en-US" sz="2000">
            <a:latin typeface="+mj-lt"/>
          </a:endParaRPr>
        </a:p>
      </dgm:t>
    </dgm:pt>
    <dgm:pt modelId="{69BE2446-2F19-4CF2-8F0B-5F9F57E19C15}">
      <dgm:prSet custT="1"/>
      <dgm:spPr>
        <a:ln>
          <a:solidFill>
            <a:schemeClr val="accent2"/>
          </a:solidFill>
        </a:ln>
      </dgm:spPr>
      <dgm:t>
        <a:bodyPr/>
        <a:lstStyle/>
        <a:p>
          <a:r>
            <a:rPr lang="en-US" sz="2000" dirty="0">
              <a:solidFill>
                <a:schemeClr val="tx2">
                  <a:lumMod val="50000"/>
                </a:schemeClr>
              </a:solidFill>
              <a:latin typeface="+mj-lt"/>
            </a:rPr>
            <a:t>Formula grant funding from MESC to six states with significant automotive manufacturing workforces: Michigan, Ohio, Indiana, Tennessee, Kentucky, and Illinois </a:t>
          </a:r>
        </a:p>
      </dgm:t>
    </dgm:pt>
    <dgm:pt modelId="{152AF674-3FD6-4461-BD37-7CA3333E36FD}" type="parTrans" cxnId="{4E896798-205C-404D-898C-EC8E2CF69197}">
      <dgm:prSet/>
      <dgm:spPr/>
      <dgm:t>
        <a:bodyPr/>
        <a:lstStyle/>
        <a:p>
          <a:endParaRPr lang="en-US"/>
        </a:p>
      </dgm:t>
    </dgm:pt>
    <dgm:pt modelId="{6F43F615-A01C-4F57-9F1D-D315197AC16D}" type="sibTrans" cxnId="{4E896798-205C-404D-898C-EC8E2CF69197}">
      <dgm:prSet/>
      <dgm:spPr/>
      <dgm:t>
        <a:bodyPr/>
        <a:lstStyle/>
        <a:p>
          <a:endParaRPr lang="en-US"/>
        </a:p>
      </dgm:t>
    </dgm:pt>
    <dgm:pt modelId="{20518358-4FE9-40C8-9FCB-B710B8B74685}">
      <dgm:prSet custT="1"/>
      <dgm:spPr>
        <a:solidFill>
          <a:schemeClr val="accent4"/>
        </a:solidFill>
        <a:ln>
          <a:solidFill>
            <a:schemeClr val="accent4"/>
          </a:solidFill>
        </a:ln>
      </dgm:spPr>
      <dgm:t>
        <a:bodyPr/>
        <a:lstStyle/>
        <a:p>
          <a:r>
            <a:rPr lang="en-US" sz="2000" b="1" dirty="0">
              <a:latin typeface="+mj-lt"/>
            </a:rPr>
            <a:t>Program Requirements</a:t>
          </a:r>
        </a:p>
      </dgm:t>
    </dgm:pt>
    <dgm:pt modelId="{6DE19014-5D44-492E-9334-B739BBA56094}" type="parTrans" cxnId="{53BB6852-E0A6-4CB6-AC09-7B9827391FB3}">
      <dgm:prSet/>
      <dgm:spPr/>
      <dgm:t>
        <a:bodyPr/>
        <a:lstStyle/>
        <a:p>
          <a:endParaRPr lang="en-US"/>
        </a:p>
      </dgm:t>
    </dgm:pt>
    <dgm:pt modelId="{AC6F5998-A966-44CD-9145-8ECD945ECB0B}" type="sibTrans" cxnId="{53BB6852-E0A6-4CB6-AC09-7B9827391FB3}">
      <dgm:prSet/>
      <dgm:spPr/>
      <dgm:t>
        <a:bodyPr/>
        <a:lstStyle/>
        <a:p>
          <a:endParaRPr lang="en-US"/>
        </a:p>
      </dgm:t>
    </dgm:pt>
    <dgm:pt modelId="{F111FB8F-E63E-4AEC-91E5-8533969BF897}">
      <dgm:prSet custT="1"/>
      <dgm:spPr>
        <a:ln>
          <a:solidFill>
            <a:srgbClr val="F9A21A"/>
          </a:solidFill>
        </a:ln>
      </dgm:spPr>
      <dgm:t>
        <a:bodyPr/>
        <a:lstStyle/>
        <a:p>
          <a:r>
            <a:rPr lang="en-US" sz="2000" dirty="0">
              <a:solidFill>
                <a:schemeClr val="tx2">
                  <a:lumMod val="50000"/>
                </a:schemeClr>
              </a:solidFill>
              <a:latin typeface="+mj-lt"/>
            </a:rPr>
            <a:t>Projects must convert an existing facility from ICE to EV supply chain</a:t>
          </a:r>
        </a:p>
      </dgm:t>
    </dgm:pt>
    <dgm:pt modelId="{A23E179B-598C-4B8F-9C5D-775C048BD320}" type="parTrans" cxnId="{E22DF19C-2960-4790-84A6-40A0ACFA12CA}">
      <dgm:prSet/>
      <dgm:spPr/>
      <dgm:t>
        <a:bodyPr/>
        <a:lstStyle/>
        <a:p>
          <a:endParaRPr lang="en-US"/>
        </a:p>
      </dgm:t>
    </dgm:pt>
    <dgm:pt modelId="{EFCCD1AF-B9CE-447A-8338-B11CF592A3B7}" type="sibTrans" cxnId="{E22DF19C-2960-4790-84A6-40A0ACFA12CA}">
      <dgm:prSet/>
      <dgm:spPr/>
      <dgm:t>
        <a:bodyPr/>
        <a:lstStyle/>
        <a:p>
          <a:endParaRPr lang="en-US"/>
        </a:p>
      </dgm:t>
    </dgm:pt>
    <dgm:pt modelId="{4788F03B-891C-43F9-91F0-0DD7CEADF561}">
      <dgm:prSet custT="1"/>
      <dgm:spPr>
        <a:ln>
          <a:solidFill>
            <a:srgbClr val="F9A21A"/>
          </a:solidFill>
        </a:ln>
      </dgm:spPr>
      <dgm:t>
        <a:bodyPr/>
        <a:lstStyle/>
        <a:p>
          <a:r>
            <a:rPr lang="en-US" sz="2000" dirty="0">
              <a:solidFill>
                <a:schemeClr val="tx2">
                  <a:lumMod val="50000"/>
                </a:schemeClr>
              </a:solidFill>
              <a:latin typeface="+mj-lt"/>
            </a:rPr>
            <a:t>50% cost share minimum – state to determine source of matching funds </a:t>
          </a:r>
        </a:p>
      </dgm:t>
    </dgm:pt>
    <dgm:pt modelId="{5A4E2E6E-DDC4-410F-BC9F-2B9A098BF7C8}" type="parTrans" cxnId="{F72F5BB8-3170-4AE0-B6BA-CDA62AC0B5F6}">
      <dgm:prSet/>
      <dgm:spPr/>
      <dgm:t>
        <a:bodyPr/>
        <a:lstStyle/>
        <a:p>
          <a:endParaRPr lang="en-US"/>
        </a:p>
      </dgm:t>
    </dgm:pt>
    <dgm:pt modelId="{023D9807-D70F-400D-8513-EA90B23EEC3A}" type="sibTrans" cxnId="{F72F5BB8-3170-4AE0-B6BA-CDA62AC0B5F6}">
      <dgm:prSet/>
      <dgm:spPr/>
      <dgm:t>
        <a:bodyPr/>
        <a:lstStyle/>
        <a:p>
          <a:endParaRPr lang="en-US"/>
        </a:p>
      </dgm:t>
    </dgm:pt>
    <dgm:pt modelId="{A0026B27-1431-48A5-8DAC-DC4F33DC83BB}">
      <dgm:prSet custT="1"/>
      <dgm:spPr>
        <a:ln>
          <a:solidFill>
            <a:srgbClr val="F9A21A"/>
          </a:solidFill>
        </a:ln>
      </dgm:spPr>
      <dgm:t>
        <a:bodyPr/>
        <a:lstStyle/>
        <a:p>
          <a:r>
            <a:rPr lang="en-US" sz="2000">
              <a:solidFill>
                <a:schemeClr val="tx2">
                  <a:lumMod val="50000"/>
                </a:schemeClr>
              </a:solidFill>
              <a:latin typeface="+mj-lt"/>
            </a:rPr>
            <a:t>State to define eligible small and medium manufacturers</a:t>
          </a:r>
        </a:p>
      </dgm:t>
    </dgm:pt>
    <dgm:pt modelId="{2E252CC0-A421-4A7F-93D1-37B6714B8BEF}" type="parTrans" cxnId="{9DFFB221-7153-4714-8B15-0561D9D2005D}">
      <dgm:prSet/>
      <dgm:spPr/>
      <dgm:t>
        <a:bodyPr/>
        <a:lstStyle/>
        <a:p>
          <a:endParaRPr lang="en-US"/>
        </a:p>
      </dgm:t>
    </dgm:pt>
    <dgm:pt modelId="{42076A4B-490E-457F-8E80-2087550B2758}" type="sibTrans" cxnId="{9DFFB221-7153-4714-8B15-0561D9D2005D}">
      <dgm:prSet/>
      <dgm:spPr/>
      <dgm:t>
        <a:bodyPr/>
        <a:lstStyle/>
        <a:p>
          <a:endParaRPr lang="en-US"/>
        </a:p>
      </dgm:t>
    </dgm:pt>
    <dgm:pt modelId="{3F01CA78-CB5B-496C-B571-A26F8F79F111}">
      <dgm:prSet custT="1"/>
      <dgm:spPr>
        <a:ln>
          <a:solidFill>
            <a:srgbClr val="F9A21A"/>
          </a:solidFill>
        </a:ln>
      </dgm:spPr>
      <dgm:t>
        <a:bodyPr/>
        <a:lstStyle/>
        <a:p>
          <a:r>
            <a:rPr lang="en-US" sz="2000" dirty="0">
              <a:solidFill>
                <a:schemeClr val="tx2">
                  <a:lumMod val="50000"/>
                </a:schemeClr>
              </a:solidFill>
              <a:latin typeface="+mj-lt"/>
            </a:rPr>
            <a:t>Funds to cover capital or operating expenditures</a:t>
          </a:r>
        </a:p>
      </dgm:t>
    </dgm:pt>
    <dgm:pt modelId="{C9E0F204-0B10-4A92-9266-6B58DE8868D0}" type="parTrans" cxnId="{A810D904-77A7-463C-B3DB-A5E88125A797}">
      <dgm:prSet/>
      <dgm:spPr/>
      <dgm:t>
        <a:bodyPr/>
        <a:lstStyle/>
        <a:p>
          <a:endParaRPr lang="en-US"/>
        </a:p>
      </dgm:t>
    </dgm:pt>
    <dgm:pt modelId="{059E05AE-738E-4BEF-A397-E02A04F62110}" type="sibTrans" cxnId="{A810D904-77A7-463C-B3DB-A5E88125A797}">
      <dgm:prSet/>
      <dgm:spPr/>
      <dgm:t>
        <a:bodyPr/>
        <a:lstStyle/>
        <a:p>
          <a:endParaRPr lang="en-US"/>
        </a:p>
      </dgm:t>
    </dgm:pt>
    <dgm:pt modelId="{6CA4B0F4-6468-465A-BF1E-817DF8C3CB26}">
      <dgm:prSet custT="1"/>
      <dgm:spPr>
        <a:ln>
          <a:solidFill>
            <a:schemeClr val="accent2"/>
          </a:solidFill>
        </a:ln>
      </dgm:spPr>
      <dgm:t>
        <a:bodyPr/>
        <a:lstStyle/>
        <a:p>
          <a:r>
            <a:rPr lang="en-US" sz="2000" dirty="0">
              <a:solidFill>
                <a:schemeClr val="tx2">
                  <a:lumMod val="50000"/>
                </a:schemeClr>
              </a:solidFill>
              <a:latin typeface="+mj-lt"/>
            </a:rPr>
            <a:t>$50 million set-aside from $2 billion in IRA 50143 funding to target manufacturers lower in the automotive supply chain</a:t>
          </a:r>
        </a:p>
      </dgm:t>
    </dgm:pt>
    <dgm:pt modelId="{4A831378-1525-4264-9AC8-6CC98B6FB87B}" type="parTrans" cxnId="{38B027D7-FBB5-43D5-8831-5FF067A4DA90}">
      <dgm:prSet/>
      <dgm:spPr/>
      <dgm:t>
        <a:bodyPr/>
        <a:lstStyle/>
        <a:p>
          <a:endParaRPr lang="en-US"/>
        </a:p>
      </dgm:t>
    </dgm:pt>
    <dgm:pt modelId="{B916E415-CEA5-4209-83B3-B25A97BE0A9C}" type="sibTrans" cxnId="{38B027D7-FBB5-43D5-8831-5FF067A4DA90}">
      <dgm:prSet/>
      <dgm:spPr/>
      <dgm:t>
        <a:bodyPr/>
        <a:lstStyle/>
        <a:p>
          <a:endParaRPr lang="en-US"/>
        </a:p>
      </dgm:t>
    </dgm:pt>
    <dgm:pt modelId="{D598FD02-5D4D-4900-9EE5-227D65C815EC}">
      <dgm:prSet custT="1"/>
      <dgm:spPr>
        <a:ln>
          <a:solidFill>
            <a:schemeClr val="accent2"/>
          </a:solidFill>
        </a:ln>
      </dgm:spPr>
      <dgm:t>
        <a:bodyPr/>
        <a:lstStyle/>
        <a:p>
          <a:r>
            <a:rPr lang="en-US" sz="2000" dirty="0">
              <a:solidFill>
                <a:schemeClr val="tx2">
                  <a:lumMod val="50000"/>
                </a:schemeClr>
              </a:solidFill>
              <a:latin typeface="+mj-lt"/>
            </a:rPr>
            <a:t>State determines the entity that will manage the program and grants</a:t>
          </a:r>
        </a:p>
      </dgm:t>
    </dgm:pt>
    <dgm:pt modelId="{5D22AD8D-310E-4A76-B1B0-2B5820B29297}" type="parTrans" cxnId="{F864417C-6165-4952-831E-9FC51702CFC3}">
      <dgm:prSet/>
      <dgm:spPr/>
      <dgm:t>
        <a:bodyPr/>
        <a:lstStyle/>
        <a:p>
          <a:endParaRPr lang="en-US"/>
        </a:p>
      </dgm:t>
    </dgm:pt>
    <dgm:pt modelId="{B276B76A-15AA-45C0-9898-6E3AC3FE75BF}" type="sibTrans" cxnId="{F864417C-6165-4952-831E-9FC51702CFC3}">
      <dgm:prSet/>
      <dgm:spPr/>
      <dgm:t>
        <a:bodyPr/>
        <a:lstStyle/>
        <a:p>
          <a:endParaRPr lang="en-US"/>
        </a:p>
      </dgm:t>
    </dgm:pt>
    <dgm:pt modelId="{B0FEFEE2-B57C-403D-AFDB-710FF3155BEE}">
      <dgm:prSet custT="1"/>
      <dgm:spPr>
        <a:ln>
          <a:solidFill>
            <a:schemeClr val="accent2"/>
          </a:solidFill>
        </a:ln>
      </dgm:spPr>
      <dgm:t>
        <a:bodyPr/>
        <a:lstStyle/>
        <a:p>
          <a:r>
            <a:rPr lang="en-US" sz="2000" dirty="0">
              <a:solidFill>
                <a:schemeClr val="tx2">
                  <a:lumMod val="50000"/>
                </a:schemeClr>
              </a:solidFill>
              <a:latin typeface="+mj-lt"/>
            </a:rPr>
            <a:t>Currently reviewing applications for award in late 2024/early 2025</a:t>
          </a:r>
        </a:p>
      </dgm:t>
    </dgm:pt>
    <dgm:pt modelId="{D825BE29-A597-4F57-BF65-E3892D69D27A}" type="parTrans" cxnId="{44DCA73B-AF44-4934-B4D4-3E263F0BE153}">
      <dgm:prSet/>
      <dgm:spPr/>
      <dgm:t>
        <a:bodyPr/>
        <a:lstStyle/>
        <a:p>
          <a:endParaRPr lang="en-US"/>
        </a:p>
      </dgm:t>
    </dgm:pt>
    <dgm:pt modelId="{17E6A753-5E4A-40D8-B6A4-CCBBD54ED70E}" type="sibTrans" cxnId="{44DCA73B-AF44-4934-B4D4-3E263F0BE153}">
      <dgm:prSet/>
      <dgm:spPr/>
      <dgm:t>
        <a:bodyPr/>
        <a:lstStyle/>
        <a:p>
          <a:endParaRPr lang="en-US"/>
        </a:p>
      </dgm:t>
    </dgm:pt>
    <dgm:pt modelId="{3F31B8CF-7A45-4DDF-80C8-E292FC40E941}" type="pres">
      <dgm:prSet presAssocID="{4149C484-A342-48C3-B0B4-F8E1BA7C92F7}" presName="linear" presStyleCnt="0">
        <dgm:presLayoutVars>
          <dgm:dir/>
          <dgm:animLvl val="lvl"/>
          <dgm:resizeHandles val="exact"/>
        </dgm:presLayoutVars>
      </dgm:prSet>
      <dgm:spPr/>
    </dgm:pt>
    <dgm:pt modelId="{E8A07B00-36E4-45DF-81EF-9785879F03D0}" type="pres">
      <dgm:prSet presAssocID="{729D154A-CA6D-4FEC-9D1B-B74A8E831CAF}" presName="parentLin" presStyleCnt="0"/>
      <dgm:spPr/>
    </dgm:pt>
    <dgm:pt modelId="{26ED4C2F-E2AB-4374-894E-8FCF3E15FE95}" type="pres">
      <dgm:prSet presAssocID="{729D154A-CA6D-4FEC-9D1B-B74A8E831CAF}" presName="parentLeftMargin" presStyleLbl="node1" presStyleIdx="0" presStyleCnt="2"/>
      <dgm:spPr/>
    </dgm:pt>
    <dgm:pt modelId="{1166DCCD-E532-438A-A506-D0C1156A9EC0}" type="pres">
      <dgm:prSet presAssocID="{729D154A-CA6D-4FEC-9D1B-B74A8E831CAF}" presName="parentText" presStyleLbl="node1" presStyleIdx="0" presStyleCnt="2" custScaleX="118012" custScaleY="137669">
        <dgm:presLayoutVars>
          <dgm:chMax val="0"/>
          <dgm:bulletEnabled val="1"/>
        </dgm:presLayoutVars>
      </dgm:prSet>
      <dgm:spPr/>
    </dgm:pt>
    <dgm:pt modelId="{8DD16CCD-FF19-4D56-9097-5891347E2BF5}" type="pres">
      <dgm:prSet presAssocID="{729D154A-CA6D-4FEC-9D1B-B74A8E831CAF}" presName="negativeSpace" presStyleCnt="0"/>
      <dgm:spPr/>
    </dgm:pt>
    <dgm:pt modelId="{90F4A00A-A99E-4EEA-B0D5-3C7A1487E56F}" type="pres">
      <dgm:prSet presAssocID="{729D154A-CA6D-4FEC-9D1B-B74A8E831CAF}" presName="childText" presStyleLbl="conFgAcc1" presStyleIdx="0" presStyleCnt="2" custLinFactNeighborX="-133">
        <dgm:presLayoutVars>
          <dgm:bulletEnabled val="1"/>
        </dgm:presLayoutVars>
      </dgm:prSet>
      <dgm:spPr/>
    </dgm:pt>
    <dgm:pt modelId="{C056F7CE-B609-4E81-AE6E-7C1AE1DC6153}" type="pres">
      <dgm:prSet presAssocID="{6A162DBC-DBF4-4BC6-86E9-EF6A3CC67D45}" presName="spaceBetweenRectangles" presStyleCnt="0"/>
      <dgm:spPr/>
    </dgm:pt>
    <dgm:pt modelId="{05ADD693-DF8B-4790-B655-B3068A9423DC}" type="pres">
      <dgm:prSet presAssocID="{20518358-4FE9-40C8-9FCB-B710B8B74685}" presName="parentLin" presStyleCnt="0"/>
      <dgm:spPr/>
    </dgm:pt>
    <dgm:pt modelId="{A99D99FD-D63E-4660-AC08-E4025170941B}" type="pres">
      <dgm:prSet presAssocID="{20518358-4FE9-40C8-9FCB-B710B8B74685}" presName="parentLeftMargin" presStyleLbl="node1" presStyleIdx="0" presStyleCnt="2"/>
      <dgm:spPr/>
    </dgm:pt>
    <dgm:pt modelId="{2685AA58-A33D-4D32-8897-B8C6DE4B659F}" type="pres">
      <dgm:prSet presAssocID="{20518358-4FE9-40C8-9FCB-B710B8B74685}" presName="parentText" presStyleLbl="node1" presStyleIdx="1" presStyleCnt="2" custScaleX="118012" custScaleY="137669">
        <dgm:presLayoutVars>
          <dgm:chMax val="0"/>
          <dgm:bulletEnabled val="1"/>
        </dgm:presLayoutVars>
      </dgm:prSet>
      <dgm:spPr/>
    </dgm:pt>
    <dgm:pt modelId="{71762C35-FAFB-4346-BFB1-C7C771D8C5A6}" type="pres">
      <dgm:prSet presAssocID="{20518358-4FE9-40C8-9FCB-B710B8B74685}" presName="negativeSpace" presStyleCnt="0"/>
      <dgm:spPr/>
    </dgm:pt>
    <dgm:pt modelId="{D649C8FC-A196-433A-9D5F-14039B71D0C4}" type="pres">
      <dgm:prSet presAssocID="{20518358-4FE9-40C8-9FCB-B710B8B74685}" presName="childText" presStyleLbl="conFgAcc1" presStyleIdx="1" presStyleCnt="2">
        <dgm:presLayoutVars>
          <dgm:bulletEnabled val="1"/>
        </dgm:presLayoutVars>
      </dgm:prSet>
      <dgm:spPr/>
    </dgm:pt>
  </dgm:ptLst>
  <dgm:cxnLst>
    <dgm:cxn modelId="{A810D904-77A7-463C-B3DB-A5E88125A797}" srcId="{20518358-4FE9-40C8-9FCB-B710B8B74685}" destId="{3F01CA78-CB5B-496C-B571-A26F8F79F111}" srcOrd="3" destOrd="0" parTransId="{C9E0F204-0B10-4A92-9266-6B58DE8868D0}" sibTransId="{059E05AE-738E-4BEF-A397-E02A04F62110}"/>
    <dgm:cxn modelId="{9DFFB221-7153-4714-8B15-0561D9D2005D}" srcId="{20518358-4FE9-40C8-9FCB-B710B8B74685}" destId="{A0026B27-1431-48A5-8DAC-DC4F33DC83BB}" srcOrd="2" destOrd="0" parTransId="{2E252CC0-A421-4A7F-93D1-37B6714B8BEF}" sibTransId="{42076A4B-490E-457F-8E80-2087550B2758}"/>
    <dgm:cxn modelId="{35E66231-4324-480D-9D8E-6E3A76921E76}" type="presOf" srcId="{729D154A-CA6D-4FEC-9D1B-B74A8E831CAF}" destId="{26ED4C2F-E2AB-4374-894E-8FCF3E15FE95}" srcOrd="0" destOrd="0" presId="urn:microsoft.com/office/officeart/2005/8/layout/list1"/>
    <dgm:cxn modelId="{3497A534-2279-42D3-9DDE-9BC06DA9264F}" type="presOf" srcId="{A0026B27-1431-48A5-8DAC-DC4F33DC83BB}" destId="{D649C8FC-A196-433A-9D5F-14039B71D0C4}" srcOrd="0" destOrd="2" presId="urn:microsoft.com/office/officeart/2005/8/layout/list1"/>
    <dgm:cxn modelId="{44DCA73B-AF44-4934-B4D4-3E263F0BE153}" srcId="{729D154A-CA6D-4FEC-9D1B-B74A8E831CAF}" destId="{B0FEFEE2-B57C-403D-AFDB-710FF3155BEE}" srcOrd="3" destOrd="0" parTransId="{D825BE29-A597-4F57-BF65-E3892D69D27A}" sibTransId="{17E6A753-5E4A-40D8-B6A4-CCBBD54ED70E}"/>
    <dgm:cxn modelId="{F1349662-62E2-40B4-835A-67F7F1EECC4F}" type="presOf" srcId="{B0FEFEE2-B57C-403D-AFDB-710FF3155BEE}" destId="{90F4A00A-A99E-4EEA-B0D5-3C7A1487E56F}" srcOrd="0" destOrd="3" presId="urn:microsoft.com/office/officeart/2005/8/layout/list1"/>
    <dgm:cxn modelId="{53BB6852-E0A6-4CB6-AC09-7B9827391FB3}" srcId="{4149C484-A342-48C3-B0B4-F8E1BA7C92F7}" destId="{20518358-4FE9-40C8-9FCB-B710B8B74685}" srcOrd="1" destOrd="0" parTransId="{6DE19014-5D44-492E-9334-B739BBA56094}" sibTransId="{AC6F5998-A966-44CD-9145-8ECD945ECB0B}"/>
    <dgm:cxn modelId="{81197E75-14C7-4232-9D4C-83F647AF76C7}" type="presOf" srcId="{20518358-4FE9-40C8-9FCB-B710B8B74685}" destId="{2685AA58-A33D-4D32-8897-B8C6DE4B659F}" srcOrd="1" destOrd="0" presId="urn:microsoft.com/office/officeart/2005/8/layout/list1"/>
    <dgm:cxn modelId="{BECE5F5A-C59F-4A63-82C9-45347C9B5E32}" type="presOf" srcId="{D598FD02-5D4D-4900-9EE5-227D65C815EC}" destId="{90F4A00A-A99E-4EEA-B0D5-3C7A1487E56F}" srcOrd="0" destOrd="2" presId="urn:microsoft.com/office/officeart/2005/8/layout/list1"/>
    <dgm:cxn modelId="{F864417C-6165-4952-831E-9FC51702CFC3}" srcId="{729D154A-CA6D-4FEC-9D1B-B74A8E831CAF}" destId="{D598FD02-5D4D-4900-9EE5-227D65C815EC}" srcOrd="2" destOrd="0" parTransId="{5D22AD8D-310E-4A76-B1B0-2B5820B29297}" sibTransId="{B276B76A-15AA-45C0-9898-6E3AC3FE75BF}"/>
    <dgm:cxn modelId="{00D5627C-4A18-483E-9654-F916A852626A}" type="presOf" srcId="{F111FB8F-E63E-4AEC-91E5-8533969BF897}" destId="{D649C8FC-A196-433A-9D5F-14039B71D0C4}" srcOrd="0" destOrd="0" presId="urn:microsoft.com/office/officeart/2005/8/layout/list1"/>
    <dgm:cxn modelId="{4E896798-205C-404D-898C-EC8E2CF69197}" srcId="{729D154A-CA6D-4FEC-9D1B-B74A8E831CAF}" destId="{69BE2446-2F19-4CF2-8F0B-5F9F57E19C15}" srcOrd="1" destOrd="0" parTransId="{152AF674-3FD6-4461-BD37-7CA3333E36FD}" sibTransId="{6F43F615-A01C-4F57-9F1D-D315197AC16D}"/>
    <dgm:cxn modelId="{96FBA19B-4B00-4C97-9845-CCDA058629AE}" srcId="{4149C484-A342-48C3-B0B4-F8E1BA7C92F7}" destId="{729D154A-CA6D-4FEC-9D1B-B74A8E831CAF}" srcOrd="0" destOrd="0" parTransId="{677D35BF-8E25-4A23-A8BF-A2372305DAD8}" sibTransId="{6A162DBC-DBF4-4BC6-86E9-EF6A3CC67D45}"/>
    <dgm:cxn modelId="{E22DF19C-2960-4790-84A6-40A0ACFA12CA}" srcId="{20518358-4FE9-40C8-9FCB-B710B8B74685}" destId="{F111FB8F-E63E-4AEC-91E5-8533969BF897}" srcOrd="0" destOrd="0" parTransId="{A23E179B-598C-4B8F-9C5D-775C048BD320}" sibTransId="{EFCCD1AF-B9CE-447A-8338-B11CF592A3B7}"/>
    <dgm:cxn modelId="{55C4B5AB-BD3E-4E00-ADBE-F0F94736C18E}" type="presOf" srcId="{729D154A-CA6D-4FEC-9D1B-B74A8E831CAF}" destId="{1166DCCD-E532-438A-A506-D0C1156A9EC0}" srcOrd="1" destOrd="0" presId="urn:microsoft.com/office/officeart/2005/8/layout/list1"/>
    <dgm:cxn modelId="{F72F5BB8-3170-4AE0-B6BA-CDA62AC0B5F6}" srcId="{20518358-4FE9-40C8-9FCB-B710B8B74685}" destId="{4788F03B-891C-43F9-91F0-0DD7CEADF561}" srcOrd="1" destOrd="0" parTransId="{5A4E2E6E-DDC4-410F-BC9F-2B9A098BF7C8}" sibTransId="{023D9807-D70F-400D-8513-EA90B23EEC3A}"/>
    <dgm:cxn modelId="{442E52C0-7244-4588-AE16-CFCF0610858B}" type="presOf" srcId="{4788F03B-891C-43F9-91F0-0DD7CEADF561}" destId="{D649C8FC-A196-433A-9D5F-14039B71D0C4}" srcOrd="0" destOrd="1" presId="urn:microsoft.com/office/officeart/2005/8/layout/list1"/>
    <dgm:cxn modelId="{3F95A5C2-4D6B-4D7E-8926-055927A4B380}" type="presOf" srcId="{6CA4B0F4-6468-465A-BF1E-817DF8C3CB26}" destId="{90F4A00A-A99E-4EEA-B0D5-3C7A1487E56F}" srcOrd="0" destOrd="0" presId="urn:microsoft.com/office/officeart/2005/8/layout/list1"/>
    <dgm:cxn modelId="{ED162CC9-D44B-4CDE-B576-D631DA650273}" type="presOf" srcId="{3F01CA78-CB5B-496C-B571-A26F8F79F111}" destId="{D649C8FC-A196-433A-9D5F-14039B71D0C4}" srcOrd="0" destOrd="3" presId="urn:microsoft.com/office/officeart/2005/8/layout/list1"/>
    <dgm:cxn modelId="{A93D1BD7-FB23-41C8-B34B-21551ACB126F}" type="presOf" srcId="{20518358-4FE9-40C8-9FCB-B710B8B74685}" destId="{A99D99FD-D63E-4660-AC08-E4025170941B}" srcOrd="0" destOrd="0" presId="urn:microsoft.com/office/officeart/2005/8/layout/list1"/>
    <dgm:cxn modelId="{38B027D7-FBB5-43D5-8831-5FF067A4DA90}" srcId="{729D154A-CA6D-4FEC-9D1B-B74A8E831CAF}" destId="{6CA4B0F4-6468-465A-BF1E-817DF8C3CB26}" srcOrd="0" destOrd="0" parTransId="{4A831378-1525-4264-9AC8-6CC98B6FB87B}" sibTransId="{B916E415-CEA5-4209-83B3-B25A97BE0A9C}"/>
    <dgm:cxn modelId="{AB59DBEE-8A75-4FA2-B39D-3D6A686974AF}" type="presOf" srcId="{69BE2446-2F19-4CF2-8F0B-5F9F57E19C15}" destId="{90F4A00A-A99E-4EEA-B0D5-3C7A1487E56F}" srcOrd="0" destOrd="1" presId="urn:microsoft.com/office/officeart/2005/8/layout/list1"/>
    <dgm:cxn modelId="{DF386DFB-CBEC-4DAE-9276-1839B1E2E267}" type="presOf" srcId="{4149C484-A342-48C3-B0B4-F8E1BA7C92F7}" destId="{3F31B8CF-7A45-4DDF-80C8-E292FC40E941}" srcOrd="0" destOrd="0" presId="urn:microsoft.com/office/officeart/2005/8/layout/list1"/>
    <dgm:cxn modelId="{3F7EA9AA-93D3-499A-9A13-4692D2B34160}" type="presParOf" srcId="{3F31B8CF-7A45-4DDF-80C8-E292FC40E941}" destId="{E8A07B00-36E4-45DF-81EF-9785879F03D0}" srcOrd="0" destOrd="0" presId="urn:microsoft.com/office/officeart/2005/8/layout/list1"/>
    <dgm:cxn modelId="{1DD88704-7C94-4BB0-8C61-4BBC96C8CC92}" type="presParOf" srcId="{E8A07B00-36E4-45DF-81EF-9785879F03D0}" destId="{26ED4C2F-E2AB-4374-894E-8FCF3E15FE95}" srcOrd="0" destOrd="0" presId="urn:microsoft.com/office/officeart/2005/8/layout/list1"/>
    <dgm:cxn modelId="{F0AA4614-D656-4554-8895-FF340C4586CE}" type="presParOf" srcId="{E8A07B00-36E4-45DF-81EF-9785879F03D0}" destId="{1166DCCD-E532-438A-A506-D0C1156A9EC0}" srcOrd="1" destOrd="0" presId="urn:microsoft.com/office/officeart/2005/8/layout/list1"/>
    <dgm:cxn modelId="{F143FC70-7AF1-4259-B0EA-DE3362E0C142}" type="presParOf" srcId="{3F31B8CF-7A45-4DDF-80C8-E292FC40E941}" destId="{8DD16CCD-FF19-4D56-9097-5891347E2BF5}" srcOrd="1" destOrd="0" presId="urn:microsoft.com/office/officeart/2005/8/layout/list1"/>
    <dgm:cxn modelId="{EEDC28C7-6EF9-480A-9A55-2A1469C62ED2}" type="presParOf" srcId="{3F31B8CF-7A45-4DDF-80C8-E292FC40E941}" destId="{90F4A00A-A99E-4EEA-B0D5-3C7A1487E56F}" srcOrd="2" destOrd="0" presId="urn:microsoft.com/office/officeart/2005/8/layout/list1"/>
    <dgm:cxn modelId="{5D3AAF73-AA7F-40A1-AF07-0865718DB015}" type="presParOf" srcId="{3F31B8CF-7A45-4DDF-80C8-E292FC40E941}" destId="{C056F7CE-B609-4E81-AE6E-7C1AE1DC6153}" srcOrd="3" destOrd="0" presId="urn:microsoft.com/office/officeart/2005/8/layout/list1"/>
    <dgm:cxn modelId="{1FE275C0-6747-4B12-8D65-162387B22DF5}" type="presParOf" srcId="{3F31B8CF-7A45-4DDF-80C8-E292FC40E941}" destId="{05ADD693-DF8B-4790-B655-B3068A9423DC}" srcOrd="4" destOrd="0" presId="urn:microsoft.com/office/officeart/2005/8/layout/list1"/>
    <dgm:cxn modelId="{D07327E2-4293-432A-8F39-56725A10D4E2}" type="presParOf" srcId="{05ADD693-DF8B-4790-B655-B3068A9423DC}" destId="{A99D99FD-D63E-4660-AC08-E4025170941B}" srcOrd="0" destOrd="0" presId="urn:microsoft.com/office/officeart/2005/8/layout/list1"/>
    <dgm:cxn modelId="{AEA9FCB9-F58A-41BE-B035-38C2C5CF583B}" type="presParOf" srcId="{05ADD693-DF8B-4790-B655-B3068A9423DC}" destId="{2685AA58-A33D-4D32-8897-B8C6DE4B659F}" srcOrd="1" destOrd="0" presId="urn:microsoft.com/office/officeart/2005/8/layout/list1"/>
    <dgm:cxn modelId="{DB0DAA0F-7030-454C-827C-A7224A7EBC11}" type="presParOf" srcId="{3F31B8CF-7A45-4DDF-80C8-E292FC40E941}" destId="{71762C35-FAFB-4346-BFB1-C7C771D8C5A6}" srcOrd="5" destOrd="0" presId="urn:microsoft.com/office/officeart/2005/8/layout/list1"/>
    <dgm:cxn modelId="{FF4040A8-ABE4-4D48-A477-7C4D13BBBD95}" type="presParOf" srcId="{3F31B8CF-7A45-4DDF-80C8-E292FC40E941}" destId="{D649C8FC-A196-433A-9D5F-14039B71D0C4}"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3782BD-E481-4261-8177-0E80963CC6E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2DC54DCE-48C8-4A92-83C2-105C5BA10017}">
      <dgm:prSet phldrT="[Text]"/>
      <dgm:spPr/>
      <dgm:t>
        <a:bodyPr/>
        <a:lstStyle/>
        <a:p>
          <a:r>
            <a:rPr lang="en-US" b="1" dirty="0"/>
            <a:t>Appropriations of $65 million to assist States and units of local government, and retailers with battery collection and recycling</a:t>
          </a:r>
          <a:endParaRPr lang="en-US" dirty="0"/>
        </a:p>
      </dgm:t>
    </dgm:pt>
    <dgm:pt modelId="{655A75BE-3603-4DFA-8CB1-9BEF9F7FD38E}" type="parTrans" cxnId="{D6AA3E94-F559-45C6-8792-1C3645346E93}">
      <dgm:prSet/>
      <dgm:spPr/>
      <dgm:t>
        <a:bodyPr/>
        <a:lstStyle/>
        <a:p>
          <a:endParaRPr lang="en-US"/>
        </a:p>
      </dgm:t>
    </dgm:pt>
    <dgm:pt modelId="{B6A40A1A-D43D-4A56-8176-E7779AA3393C}" type="sibTrans" cxnId="{D6AA3E94-F559-45C6-8792-1C3645346E93}">
      <dgm:prSet/>
      <dgm:spPr/>
      <dgm:t>
        <a:bodyPr/>
        <a:lstStyle/>
        <a:p>
          <a:endParaRPr lang="en-US"/>
        </a:p>
      </dgm:t>
    </dgm:pt>
    <dgm:pt modelId="{0FE6D854-A353-4668-8C0C-5F8B9FC7447F}">
      <dgm:prSet phldrT="[Text]"/>
      <dgm:spPr/>
      <dgm:t>
        <a:bodyPr/>
        <a:lstStyle/>
        <a:p>
          <a:r>
            <a:rPr kumimoji="0" lang="en-US" b="1" i="0" u="none" strike="noStrike" cap="none" spc="0" normalizeH="0" baseline="0" noProof="0">
              <a:ln/>
              <a:effectLst/>
              <a:uLnTx/>
              <a:uFillTx/>
              <a:ea typeface="+mn-ea"/>
              <a:cs typeface="+mn-cs"/>
            </a:rPr>
            <a:t>Grants to establish or enhance battery collection, recycling, and reprocessing programs.</a:t>
          </a:r>
          <a:endParaRPr lang="en-US" dirty="0"/>
        </a:p>
      </dgm:t>
    </dgm:pt>
    <dgm:pt modelId="{D665959C-5EEE-42B3-9FEB-ADD862B176BC}" type="parTrans" cxnId="{DA8DD7C4-DEA5-4C57-90D3-599C1D557F4B}">
      <dgm:prSet/>
      <dgm:spPr/>
      <dgm:t>
        <a:bodyPr/>
        <a:lstStyle/>
        <a:p>
          <a:endParaRPr lang="en-US"/>
        </a:p>
      </dgm:t>
    </dgm:pt>
    <dgm:pt modelId="{79CB3EB2-D09E-438D-A862-39482EB50E05}" type="sibTrans" cxnId="{DA8DD7C4-DEA5-4C57-90D3-599C1D557F4B}">
      <dgm:prSet/>
      <dgm:spPr/>
      <dgm:t>
        <a:bodyPr/>
        <a:lstStyle/>
        <a:p>
          <a:endParaRPr lang="en-US"/>
        </a:p>
      </dgm:t>
    </dgm:pt>
    <dgm:pt modelId="{AEE25D48-F4F4-4D7D-AFA5-A0645AAF2AC8}">
      <dgm:prSet phldrT="[Text]"/>
      <dgm:spPr/>
      <dgm:t>
        <a:bodyPr/>
        <a:lstStyle/>
        <a:p>
          <a:r>
            <a:rPr lang="en-US" b="1"/>
            <a:t>Up to $10M per grant, proposal must include a 50% cost share.  </a:t>
          </a:r>
          <a:endParaRPr lang="en-US" dirty="0"/>
        </a:p>
      </dgm:t>
    </dgm:pt>
    <dgm:pt modelId="{7AADBB6B-080A-4DCF-A59B-4B31FA1C11BD}" type="parTrans" cxnId="{DDC82C0D-8D03-46BB-999E-893397FC341D}">
      <dgm:prSet/>
      <dgm:spPr/>
      <dgm:t>
        <a:bodyPr/>
        <a:lstStyle/>
        <a:p>
          <a:endParaRPr lang="en-US"/>
        </a:p>
      </dgm:t>
    </dgm:pt>
    <dgm:pt modelId="{527730ED-57F1-4DBC-AB40-22AB4FF409D4}" type="sibTrans" cxnId="{DDC82C0D-8D03-46BB-999E-893397FC341D}">
      <dgm:prSet/>
      <dgm:spPr/>
      <dgm:t>
        <a:bodyPr/>
        <a:lstStyle/>
        <a:p>
          <a:endParaRPr lang="en-US"/>
        </a:p>
      </dgm:t>
    </dgm:pt>
    <dgm:pt modelId="{3C25BB77-334A-4E08-8064-68B55A71C9BE}">
      <dgm:prSet phldrT="[Text]"/>
      <dgm:spPr/>
      <dgm:t>
        <a:bodyPr/>
        <a:lstStyle/>
        <a:p>
          <a:pPr>
            <a:buClrTx/>
            <a:buSzTx/>
            <a:buFont typeface="Arial,Sans-Serif"/>
            <a:buChar char="•"/>
          </a:pPr>
          <a:r>
            <a:rPr kumimoji="0" lang="en-US" b="0" i="0" u="none" strike="noStrike" cap="none" spc="0" normalizeH="0" baseline="0" noProof="0" dirty="0">
              <a:ln/>
              <a:effectLst/>
              <a:uLnTx/>
              <a:uFillTx/>
              <a:latin typeface="Arial"/>
              <a:ea typeface="+mn-ea"/>
              <a:cs typeface="Arial"/>
            </a:rPr>
            <a:t>Programs can focus on any or all recycling steps such as collecting, handling, sorting, storing, and transporting spent and discarded batteries and electronics containing batteries up to the physical recycling process.</a:t>
          </a:r>
          <a:endParaRPr lang="en-US" dirty="0"/>
        </a:p>
      </dgm:t>
    </dgm:pt>
    <dgm:pt modelId="{2C90807B-3F62-4F64-BAC6-CC98D1AADB37}" type="parTrans" cxnId="{4C08A82E-67E2-4A19-A9A2-D6FCA509A94A}">
      <dgm:prSet/>
      <dgm:spPr/>
      <dgm:t>
        <a:bodyPr/>
        <a:lstStyle/>
        <a:p>
          <a:endParaRPr lang="en-US"/>
        </a:p>
      </dgm:t>
    </dgm:pt>
    <dgm:pt modelId="{E295F54C-7288-49F0-ACEF-740C241F86F4}" type="sibTrans" cxnId="{4C08A82E-67E2-4A19-A9A2-D6FCA509A94A}">
      <dgm:prSet/>
      <dgm:spPr/>
      <dgm:t>
        <a:bodyPr/>
        <a:lstStyle/>
        <a:p>
          <a:endParaRPr lang="en-US"/>
        </a:p>
      </dgm:t>
    </dgm:pt>
    <dgm:pt modelId="{C8CAF236-367F-47EF-9180-D9542E8E3F25}" type="pres">
      <dgm:prSet presAssocID="{A33782BD-E481-4261-8177-0E80963CC6E1}" presName="linear" presStyleCnt="0">
        <dgm:presLayoutVars>
          <dgm:dir/>
          <dgm:animLvl val="lvl"/>
          <dgm:resizeHandles val="exact"/>
        </dgm:presLayoutVars>
      </dgm:prSet>
      <dgm:spPr/>
    </dgm:pt>
    <dgm:pt modelId="{ACD14D53-F5E4-4401-B544-A3B1EB0B222C}" type="pres">
      <dgm:prSet presAssocID="{2DC54DCE-48C8-4A92-83C2-105C5BA10017}" presName="parentLin" presStyleCnt="0"/>
      <dgm:spPr/>
    </dgm:pt>
    <dgm:pt modelId="{C8D625DD-7C0E-401B-9D94-17FD71389909}" type="pres">
      <dgm:prSet presAssocID="{2DC54DCE-48C8-4A92-83C2-105C5BA10017}" presName="parentLeftMargin" presStyleLbl="node1" presStyleIdx="0" presStyleCnt="3"/>
      <dgm:spPr/>
    </dgm:pt>
    <dgm:pt modelId="{29B4B932-1114-482D-8E43-4B58935EB7C8}" type="pres">
      <dgm:prSet presAssocID="{2DC54DCE-48C8-4A92-83C2-105C5BA10017}" presName="parentText" presStyleLbl="node1" presStyleIdx="0" presStyleCnt="3">
        <dgm:presLayoutVars>
          <dgm:chMax val="0"/>
          <dgm:bulletEnabled val="1"/>
        </dgm:presLayoutVars>
      </dgm:prSet>
      <dgm:spPr/>
    </dgm:pt>
    <dgm:pt modelId="{F9F84EF8-8389-4D28-912E-5C3C6858D122}" type="pres">
      <dgm:prSet presAssocID="{2DC54DCE-48C8-4A92-83C2-105C5BA10017}" presName="negativeSpace" presStyleCnt="0"/>
      <dgm:spPr/>
    </dgm:pt>
    <dgm:pt modelId="{0D5C4C67-277F-4CC7-B284-DD8AD0634427}" type="pres">
      <dgm:prSet presAssocID="{2DC54DCE-48C8-4A92-83C2-105C5BA10017}" presName="childText" presStyleLbl="conFgAcc1" presStyleIdx="0" presStyleCnt="3">
        <dgm:presLayoutVars>
          <dgm:bulletEnabled val="1"/>
        </dgm:presLayoutVars>
      </dgm:prSet>
      <dgm:spPr/>
    </dgm:pt>
    <dgm:pt modelId="{3BBB04F6-E44F-4DBD-B3EB-FD27886EEE10}" type="pres">
      <dgm:prSet presAssocID="{B6A40A1A-D43D-4A56-8176-E7779AA3393C}" presName="spaceBetweenRectangles" presStyleCnt="0"/>
      <dgm:spPr/>
    </dgm:pt>
    <dgm:pt modelId="{55E114DB-E063-42DB-923C-AE5777D76F5A}" type="pres">
      <dgm:prSet presAssocID="{0FE6D854-A353-4668-8C0C-5F8B9FC7447F}" presName="parentLin" presStyleCnt="0"/>
      <dgm:spPr/>
    </dgm:pt>
    <dgm:pt modelId="{A9FA124E-8A56-41CE-9BB4-A6307B1E46EB}" type="pres">
      <dgm:prSet presAssocID="{0FE6D854-A353-4668-8C0C-5F8B9FC7447F}" presName="parentLeftMargin" presStyleLbl="node1" presStyleIdx="0" presStyleCnt="3"/>
      <dgm:spPr/>
    </dgm:pt>
    <dgm:pt modelId="{183CB36B-88A7-46CA-87F8-51DA47E479C0}" type="pres">
      <dgm:prSet presAssocID="{0FE6D854-A353-4668-8C0C-5F8B9FC7447F}" presName="parentText" presStyleLbl="node1" presStyleIdx="1" presStyleCnt="3">
        <dgm:presLayoutVars>
          <dgm:chMax val="0"/>
          <dgm:bulletEnabled val="1"/>
        </dgm:presLayoutVars>
      </dgm:prSet>
      <dgm:spPr/>
    </dgm:pt>
    <dgm:pt modelId="{1B4CBAFE-599B-4A1A-8EE7-377BCA12B499}" type="pres">
      <dgm:prSet presAssocID="{0FE6D854-A353-4668-8C0C-5F8B9FC7447F}" presName="negativeSpace" presStyleCnt="0"/>
      <dgm:spPr/>
    </dgm:pt>
    <dgm:pt modelId="{FCE76EF1-CAE4-4147-93FE-9D56272ECCB7}" type="pres">
      <dgm:prSet presAssocID="{0FE6D854-A353-4668-8C0C-5F8B9FC7447F}" presName="childText" presStyleLbl="conFgAcc1" presStyleIdx="1" presStyleCnt="3">
        <dgm:presLayoutVars>
          <dgm:bulletEnabled val="1"/>
        </dgm:presLayoutVars>
      </dgm:prSet>
      <dgm:spPr/>
    </dgm:pt>
    <dgm:pt modelId="{6918F9F3-802C-46CA-8A4F-CC1AF70BAE8B}" type="pres">
      <dgm:prSet presAssocID="{79CB3EB2-D09E-438D-A862-39482EB50E05}" presName="spaceBetweenRectangles" presStyleCnt="0"/>
      <dgm:spPr/>
    </dgm:pt>
    <dgm:pt modelId="{A7FC2485-0D93-473C-AF95-FFA9CE235BA9}" type="pres">
      <dgm:prSet presAssocID="{AEE25D48-F4F4-4D7D-AFA5-A0645AAF2AC8}" presName="parentLin" presStyleCnt="0"/>
      <dgm:spPr/>
    </dgm:pt>
    <dgm:pt modelId="{1588418B-CC15-40BF-BA48-DF9A1D000D9E}" type="pres">
      <dgm:prSet presAssocID="{AEE25D48-F4F4-4D7D-AFA5-A0645AAF2AC8}" presName="parentLeftMargin" presStyleLbl="node1" presStyleIdx="1" presStyleCnt="3"/>
      <dgm:spPr/>
    </dgm:pt>
    <dgm:pt modelId="{6285A46C-4CF4-42C6-AD4D-07C761968D93}" type="pres">
      <dgm:prSet presAssocID="{AEE25D48-F4F4-4D7D-AFA5-A0645AAF2AC8}" presName="parentText" presStyleLbl="node1" presStyleIdx="2" presStyleCnt="3" custLinFactNeighborX="7941">
        <dgm:presLayoutVars>
          <dgm:chMax val="0"/>
          <dgm:bulletEnabled val="1"/>
        </dgm:presLayoutVars>
      </dgm:prSet>
      <dgm:spPr/>
    </dgm:pt>
    <dgm:pt modelId="{41DCB7A0-0CDB-46D5-905D-2F5DAE737E8C}" type="pres">
      <dgm:prSet presAssocID="{AEE25D48-F4F4-4D7D-AFA5-A0645AAF2AC8}" presName="negativeSpace" presStyleCnt="0"/>
      <dgm:spPr/>
    </dgm:pt>
    <dgm:pt modelId="{192C66A3-BBEB-4A1D-B360-620A916DEE75}" type="pres">
      <dgm:prSet presAssocID="{AEE25D48-F4F4-4D7D-AFA5-A0645AAF2AC8}" presName="childText" presStyleLbl="conFgAcc1" presStyleIdx="2" presStyleCnt="3">
        <dgm:presLayoutVars>
          <dgm:bulletEnabled val="1"/>
        </dgm:presLayoutVars>
      </dgm:prSet>
      <dgm:spPr/>
    </dgm:pt>
  </dgm:ptLst>
  <dgm:cxnLst>
    <dgm:cxn modelId="{DDC82C0D-8D03-46BB-999E-893397FC341D}" srcId="{A33782BD-E481-4261-8177-0E80963CC6E1}" destId="{AEE25D48-F4F4-4D7D-AFA5-A0645AAF2AC8}" srcOrd="2" destOrd="0" parTransId="{7AADBB6B-080A-4DCF-A59B-4B31FA1C11BD}" sibTransId="{527730ED-57F1-4DBC-AB40-22AB4FF409D4}"/>
    <dgm:cxn modelId="{8ADD3526-6537-46A5-AA3D-1619B518F664}" type="presOf" srcId="{3C25BB77-334A-4E08-8064-68B55A71C9BE}" destId="{FCE76EF1-CAE4-4147-93FE-9D56272ECCB7}" srcOrd="0" destOrd="0" presId="urn:microsoft.com/office/officeart/2005/8/layout/list1"/>
    <dgm:cxn modelId="{83FFBF2C-3C67-4D1D-9A48-7598D11359A7}" type="presOf" srcId="{AEE25D48-F4F4-4D7D-AFA5-A0645AAF2AC8}" destId="{1588418B-CC15-40BF-BA48-DF9A1D000D9E}" srcOrd="0" destOrd="0" presId="urn:microsoft.com/office/officeart/2005/8/layout/list1"/>
    <dgm:cxn modelId="{4C08A82E-67E2-4A19-A9A2-D6FCA509A94A}" srcId="{0FE6D854-A353-4668-8C0C-5F8B9FC7447F}" destId="{3C25BB77-334A-4E08-8064-68B55A71C9BE}" srcOrd="0" destOrd="0" parTransId="{2C90807B-3F62-4F64-BAC6-CC98D1AADB37}" sibTransId="{E295F54C-7288-49F0-ACEF-740C241F86F4}"/>
    <dgm:cxn modelId="{4E957F6B-D5A9-488A-A6C9-D24FC71F6268}" type="presOf" srcId="{2DC54DCE-48C8-4A92-83C2-105C5BA10017}" destId="{29B4B932-1114-482D-8E43-4B58935EB7C8}" srcOrd="1" destOrd="0" presId="urn:microsoft.com/office/officeart/2005/8/layout/list1"/>
    <dgm:cxn modelId="{75974976-BB30-4403-A8F8-387F112CFAFF}" type="presOf" srcId="{0FE6D854-A353-4668-8C0C-5F8B9FC7447F}" destId="{A9FA124E-8A56-41CE-9BB4-A6307B1E46EB}" srcOrd="0" destOrd="0" presId="urn:microsoft.com/office/officeart/2005/8/layout/list1"/>
    <dgm:cxn modelId="{D6AA3E94-F559-45C6-8792-1C3645346E93}" srcId="{A33782BD-E481-4261-8177-0E80963CC6E1}" destId="{2DC54DCE-48C8-4A92-83C2-105C5BA10017}" srcOrd="0" destOrd="0" parTransId="{655A75BE-3603-4DFA-8CB1-9BEF9F7FD38E}" sibTransId="{B6A40A1A-D43D-4A56-8176-E7779AA3393C}"/>
    <dgm:cxn modelId="{857BE295-D5FD-492B-ADAD-CF09EF225E47}" type="presOf" srcId="{0FE6D854-A353-4668-8C0C-5F8B9FC7447F}" destId="{183CB36B-88A7-46CA-87F8-51DA47E479C0}" srcOrd="1" destOrd="0" presId="urn:microsoft.com/office/officeart/2005/8/layout/list1"/>
    <dgm:cxn modelId="{28EDCC9D-F80E-4F74-BC80-80290FDBBFC1}" type="presOf" srcId="{AEE25D48-F4F4-4D7D-AFA5-A0645AAF2AC8}" destId="{6285A46C-4CF4-42C6-AD4D-07C761968D93}" srcOrd="1" destOrd="0" presId="urn:microsoft.com/office/officeart/2005/8/layout/list1"/>
    <dgm:cxn modelId="{94DA2EA1-711D-4588-86A5-393EE4F8AFCC}" type="presOf" srcId="{2DC54DCE-48C8-4A92-83C2-105C5BA10017}" destId="{C8D625DD-7C0E-401B-9D94-17FD71389909}" srcOrd="0" destOrd="0" presId="urn:microsoft.com/office/officeart/2005/8/layout/list1"/>
    <dgm:cxn modelId="{DA8DD7C4-DEA5-4C57-90D3-599C1D557F4B}" srcId="{A33782BD-E481-4261-8177-0E80963CC6E1}" destId="{0FE6D854-A353-4668-8C0C-5F8B9FC7447F}" srcOrd="1" destOrd="0" parTransId="{D665959C-5EEE-42B3-9FEB-ADD862B176BC}" sibTransId="{79CB3EB2-D09E-438D-A862-39482EB50E05}"/>
    <dgm:cxn modelId="{0D9D12EE-52D7-44FC-B3D0-71B644C754D1}" type="presOf" srcId="{A33782BD-E481-4261-8177-0E80963CC6E1}" destId="{C8CAF236-367F-47EF-9180-D9542E8E3F25}" srcOrd="0" destOrd="0" presId="urn:microsoft.com/office/officeart/2005/8/layout/list1"/>
    <dgm:cxn modelId="{C77F613F-8A03-4F67-8FB9-F5F5F0596C26}" type="presParOf" srcId="{C8CAF236-367F-47EF-9180-D9542E8E3F25}" destId="{ACD14D53-F5E4-4401-B544-A3B1EB0B222C}" srcOrd="0" destOrd="0" presId="urn:microsoft.com/office/officeart/2005/8/layout/list1"/>
    <dgm:cxn modelId="{34BA5FFC-939B-4DC3-A59B-82C33CC58AC8}" type="presParOf" srcId="{ACD14D53-F5E4-4401-B544-A3B1EB0B222C}" destId="{C8D625DD-7C0E-401B-9D94-17FD71389909}" srcOrd="0" destOrd="0" presId="urn:microsoft.com/office/officeart/2005/8/layout/list1"/>
    <dgm:cxn modelId="{C0E504DE-E8FB-4B49-A419-DD1871A2F044}" type="presParOf" srcId="{ACD14D53-F5E4-4401-B544-A3B1EB0B222C}" destId="{29B4B932-1114-482D-8E43-4B58935EB7C8}" srcOrd="1" destOrd="0" presId="urn:microsoft.com/office/officeart/2005/8/layout/list1"/>
    <dgm:cxn modelId="{CCEA205D-C110-4ACE-AF8D-1FFE39E25593}" type="presParOf" srcId="{C8CAF236-367F-47EF-9180-D9542E8E3F25}" destId="{F9F84EF8-8389-4D28-912E-5C3C6858D122}" srcOrd="1" destOrd="0" presId="urn:microsoft.com/office/officeart/2005/8/layout/list1"/>
    <dgm:cxn modelId="{E41CE26F-765D-4F78-8A79-D7F539297D9F}" type="presParOf" srcId="{C8CAF236-367F-47EF-9180-D9542E8E3F25}" destId="{0D5C4C67-277F-4CC7-B284-DD8AD0634427}" srcOrd="2" destOrd="0" presId="urn:microsoft.com/office/officeart/2005/8/layout/list1"/>
    <dgm:cxn modelId="{6B97C54C-737B-4B8B-A3DA-D071B5733CB3}" type="presParOf" srcId="{C8CAF236-367F-47EF-9180-D9542E8E3F25}" destId="{3BBB04F6-E44F-4DBD-B3EB-FD27886EEE10}" srcOrd="3" destOrd="0" presId="urn:microsoft.com/office/officeart/2005/8/layout/list1"/>
    <dgm:cxn modelId="{DC592889-D2CA-4CD6-B396-B8420C563C0B}" type="presParOf" srcId="{C8CAF236-367F-47EF-9180-D9542E8E3F25}" destId="{55E114DB-E063-42DB-923C-AE5777D76F5A}" srcOrd="4" destOrd="0" presId="urn:microsoft.com/office/officeart/2005/8/layout/list1"/>
    <dgm:cxn modelId="{71476AAF-DE9C-4AD6-81F4-2A300C35E35D}" type="presParOf" srcId="{55E114DB-E063-42DB-923C-AE5777D76F5A}" destId="{A9FA124E-8A56-41CE-9BB4-A6307B1E46EB}" srcOrd="0" destOrd="0" presId="urn:microsoft.com/office/officeart/2005/8/layout/list1"/>
    <dgm:cxn modelId="{C8065FE0-EE5D-4523-A330-F393D043CC8B}" type="presParOf" srcId="{55E114DB-E063-42DB-923C-AE5777D76F5A}" destId="{183CB36B-88A7-46CA-87F8-51DA47E479C0}" srcOrd="1" destOrd="0" presId="urn:microsoft.com/office/officeart/2005/8/layout/list1"/>
    <dgm:cxn modelId="{E3064FBB-19FD-44DC-91C9-BB2A28322657}" type="presParOf" srcId="{C8CAF236-367F-47EF-9180-D9542E8E3F25}" destId="{1B4CBAFE-599B-4A1A-8EE7-377BCA12B499}" srcOrd="5" destOrd="0" presId="urn:microsoft.com/office/officeart/2005/8/layout/list1"/>
    <dgm:cxn modelId="{DD1F8B94-3424-4552-A1FD-1B168177765E}" type="presParOf" srcId="{C8CAF236-367F-47EF-9180-D9542E8E3F25}" destId="{FCE76EF1-CAE4-4147-93FE-9D56272ECCB7}" srcOrd="6" destOrd="0" presId="urn:microsoft.com/office/officeart/2005/8/layout/list1"/>
    <dgm:cxn modelId="{6426F622-0DC5-4843-AB80-67C5E5699405}" type="presParOf" srcId="{C8CAF236-367F-47EF-9180-D9542E8E3F25}" destId="{6918F9F3-802C-46CA-8A4F-CC1AF70BAE8B}" srcOrd="7" destOrd="0" presId="urn:microsoft.com/office/officeart/2005/8/layout/list1"/>
    <dgm:cxn modelId="{99CD200E-C82A-4A82-9EC1-C0F971D35DFA}" type="presParOf" srcId="{C8CAF236-367F-47EF-9180-D9542E8E3F25}" destId="{A7FC2485-0D93-473C-AF95-FFA9CE235BA9}" srcOrd="8" destOrd="0" presId="urn:microsoft.com/office/officeart/2005/8/layout/list1"/>
    <dgm:cxn modelId="{F193D660-7CF0-48DF-8C7F-9639432C4A1B}" type="presParOf" srcId="{A7FC2485-0D93-473C-AF95-FFA9CE235BA9}" destId="{1588418B-CC15-40BF-BA48-DF9A1D000D9E}" srcOrd="0" destOrd="0" presId="urn:microsoft.com/office/officeart/2005/8/layout/list1"/>
    <dgm:cxn modelId="{DE34B9BA-D522-40DD-95BD-874D5F9A307E}" type="presParOf" srcId="{A7FC2485-0D93-473C-AF95-FFA9CE235BA9}" destId="{6285A46C-4CF4-42C6-AD4D-07C761968D93}" srcOrd="1" destOrd="0" presId="urn:microsoft.com/office/officeart/2005/8/layout/list1"/>
    <dgm:cxn modelId="{DF010DDE-FE3C-4425-A67E-D44DF9B1B14F}" type="presParOf" srcId="{C8CAF236-367F-47EF-9180-D9542E8E3F25}" destId="{41DCB7A0-0CDB-46D5-905D-2F5DAE737E8C}" srcOrd="9" destOrd="0" presId="urn:microsoft.com/office/officeart/2005/8/layout/list1"/>
    <dgm:cxn modelId="{2CA48397-A3F7-425C-AD01-7197CA6B248E}" type="presParOf" srcId="{C8CAF236-367F-47EF-9180-D9542E8E3F25}" destId="{192C66A3-BBEB-4A1D-B360-620A916DEE75}"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4A00A-A99E-4EEA-B0D5-3C7A1487E56F}">
      <dsp:nvSpPr>
        <dsp:cNvPr id="0" name=""/>
        <dsp:cNvSpPr/>
      </dsp:nvSpPr>
      <dsp:spPr>
        <a:xfrm>
          <a:off x="0" y="336787"/>
          <a:ext cx="11210925" cy="2381400"/>
        </a:xfrm>
        <a:prstGeom prst="rect">
          <a:avLst/>
        </a:prstGeom>
        <a:solidFill>
          <a:schemeClr val="lt1">
            <a:alpha val="90000"/>
            <a:hueOff val="0"/>
            <a:satOff val="0"/>
            <a:lumOff val="0"/>
            <a:alphaOff val="0"/>
          </a:schemeClr>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dsp:style>
      <dsp:txBody>
        <a:bodyPr spcFirstLastPara="0" vert="horz" wrap="square" lIns="870092" tIns="249936" rIns="870092"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50 million set-aside from $2 billion in IRA 50143 funding to target manufacturers lower in the automotive supply chain</a:t>
          </a:r>
        </a:p>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Formula grant funding from MESC to six states with significant automotive manufacturing workforces: Michigan, Ohio, Indiana, Tennessee, Kentucky, and Illinois </a:t>
          </a:r>
        </a:p>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State determines the entity that will manage the program and grants</a:t>
          </a:r>
        </a:p>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Currently reviewing applications for award in late 2024/early 2025</a:t>
          </a:r>
        </a:p>
      </dsp:txBody>
      <dsp:txXfrm>
        <a:off x="0" y="336787"/>
        <a:ext cx="11210925" cy="2381400"/>
      </dsp:txXfrm>
    </dsp:sp>
    <dsp:sp modelId="{1166DCCD-E532-438A-A506-D0C1156A9EC0}">
      <dsp:nvSpPr>
        <dsp:cNvPr id="0" name=""/>
        <dsp:cNvSpPr/>
      </dsp:nvSpPr>
      <dsp:spPr>
        <a:xfrm>
          <a:off x="560546" y="26229"/>
          <a:ext cx="9261165" cy="487678"/>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6622" tIns="0" rIns="296622" bIns="0" numCol="1" spcCol="1270" anchor="ctr" anchorCtr="0">
          <a:noAutofit/>
        </a:bodyPr>
        <a:lstStyle/>
        <a:p>
          <a:pPr marL="0" lvl="0" indent="0" algn="l" defTabSz="889000">
            <a:lnSpc>
              <a:spcPct val="90000"/>
            </a:lnSpc>
            <a:spcBef>
              <a:spcPct val="0"/>
            </a:spcBef>
            <a:spcAft>
              <a:spcPct val="35000"/>
            </a:spcAft>
            <a:buFont typeface="System Font Regular"/>
            <a:buNone/>
          </a:pPr>
          <a:r>
            <a:rPr lang="en-US" sz="2000" b="1" i="0" kern="1200" dirty="0">
              <a:latin typeface="+mj-lt"/>
            </a:rPr>
            <a:t>Program Overview</a:t>
          </a:r>
        </a:p>
      </dsp:txBody>
      <dsp:txXfrm>
        <a:off x="584352" y="50035"/>
        <a:ext cx="9213553" cy="440066"/>
      </dsp:txXfrm>
    </dsp:sp>
    <dsp:sp modelId="{D649C8FC-A196-433A-9D5F-14039B71D0C4}">
      <dsp:nvSpPr>
        <dsp:cNvPr id="0" name=""/>
        <dsp:cNvSpPr/>
      </dsp:nvSpPr>
      <dsp:spPr>
        <a:xfrm>
          <a:off x="0" y="3093546"/>
          <a:ext cx="11210925" cy="1587600"/>
        </a:xfrm>
        <a:prstGeom prst="rect">
          <a:avLst/>
        </a:prstGeom>
        <a:solidFill>
          <a:schemeClr val="lt1">
            <a:alpha val="90000"/>
            <a:hueOff val="0"/>
            <a:satOff val="0"/>
            <a:lumOff val="0"/>
            <a:alphaOff val="0"/>
          </a:schemeClr>
        </a:solidFill>
        <a:ln w="25400" cap="flat" cmpd="sng" algn="ctr">
          <a:solidFill>
            <a:srgbClr val="F9A21A"/>
          </a:solidFill>
          <a:prstDash val="solid"/>
        </a:ln>
        <a:effectLst/>
      </dsp:spPr>
      <dsp:style>
        <a:lnRef idx="2">
          <a:scrgbClr r="0" g="0" b="0"/>
        </a:lnRef>
        <a:fillRef idx="1">
          <a:scrgbClr r="0" g="0" b="0"/>
        </a:fillRef>
        <a:effectRef idx="0">
          <a:scrgbClr r="0" g="0" b="0"/>
        </a:effectRef>
        <a:fontRef idx="minor"/>
      </dsp:style>
      <dsp:txBody>
        <a:bodyPr spcFirstLastPara="0" vert="horz" wrap="square" lIns="870092" tIns="249936" rIns="870092"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Projects must convert an existing facility from ICE to EV supply chain</a:t>
          </a:r>
        </a:p>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50% cost share minimum – state to determine source of matching funds </a:t>
          </a:r>
        </a:p>
        <a:p>
          <a:pPr marL="228600" lvl="1" indent="-228600" algn="l" defTabSz="889000">
            <a:lnSpc>
              <a:spcPct val="90000"/>
            </a:lnSpc>
            <a:spcBef>
              <a:spcPct val="0"/>
            </a:spcBef>
            <a:spcAft>
              <a:spcPct val="15000"/>
            </a:spcAft>
            <a:buChar char="•"/>
          </a:pPr>
          <a:r>
            <a:rPr lang="en-US" sz="2000" kern="1200">
              <a:solidFill>
                <a:schemeClr val="tx2">
                  <a:lumMod val="50000"/>
                </a:schemeClr>
              </a:solidFill>
              <a:latin typeface="+mj-lt"/>
            </a:rPr>
            <a:t>State to define eligible small and medium manufacturers</a:t>
          </a:r>
        </a:p>
        <a:p>
          <a:pPr marL="228600" lvl="1" indent="-228600" algn="l" defTabSz="889000">
            <a:lnSpc>
              <a:spcPct val="90000"/>
            </a:lnSpc>
            <a:spcBef>
              <a:spcPct val="0"/>
            </a:spcBef>
            <a:spcAft>
              <a:spcPct val="15000"/>
            </a:spcAft>
            <a:buChar char="•"/>
          </a:pPr>
          <a:r>
            <a:rPr lang="en-US" sz="2000" kern="1200" dirty="0">
              <a:solidFill>
                <a:schemeClr val="tx2">
                  <a:lumMod val="50000"/>
                </a:schemeClr>
              </a:solidFill>
              <a:latin typeface="+mj-lt"/>
            </a:rPr>
            <a:t>Funds to cover capital or operating expenditures</a:t>
          </a:r>
        </a:p>
      </dsp:txBody>
      <dsp:txXfrm>
        <a:off x="0" y="3093546"/>
        <a:ext cx="11210925" cy="1587600"/>
      </dsp:txXfrm>
    </dsp:sp>
    <dsp:sp modelId="{2685AA58-A33D-4D32-8897-B8C6DE4B659F}">
      <dsp:nvSpPr>
        <dsp:cNvPr id="0" name=""/>
        <dsp:cNvSpPr/>
      </dsp:nvSpPr>
      <dsp:spPr>
        <a:xfrm>
          <a:off x="560546" y="2782987"/>
          <a:ext cx="9261165" cy="487678"/>
        </a:xfrm>
        <a:prstGeom prst="roundRect">
          <a:avLst/>
        </a:prstGeom>
        <a:solidFill>
          <a:schemeClr val="accent4"/>
        </a:solidFill>
        <a:ln w="254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6622" tIns="0" rIns="296622" bIns="0" numCol="1" spcCol="1270" anchor="ctr" anchorCtr="0">
          <a:noAutofit/>
        </a:bodyPr>
        <a:lstStyle/>
        <a:p>
          <a:pPr marL="0" lvl="0" indent="0" algn="l" defTabSz="889000">
            <a:lnSpc>
              <a:spcPct val="90000"/>
            </a:lnSpc>
            <a:spcBef>
              <a:spcPct val="0"/>
            </a:spcBef>
            <a:spcAft>
              <a:spcPct val="35000"/>
            </a:spcAft>
            <a:buNone/>
          </a:pPr>
          <a:r>
            <a:rPr lang="en-US" sz="2000" b="1" kern="1200" dirty="0">
              <a:latin typeface="+mj-lt"/>
            </a:rPr>
            <a:t>Program Requirements</a:t>
          </a:r>
        </a:p>
      </dsp:txBody>
      <dsp:txXfrm>
        <a:off x="584352" y="2806793"/>
        <a:ext cx="9213553" cy="4400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5C4C67-277F-4CC7-B284-DD8AD0634427}">
      <dsp:nvSpPr>
        <dsp:cNvPr id="0" name=""/>
        <dsp:cNvSpPr/>
      </dsp:nvSpPr>
      <dsp:spPr>
        <a:xfrm>
          <a:off x="0" y="1923177"/>
          <a:ext cx="11570147" cy="4788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9B4B932-1114-482D-8E43-4B58935EB7C8}">
      <dsp:nvSpPr>
        <dsp:cNvPr id="0" name=""/>
        <dsp:cNvSpPr/>
      </dsp:nvSpPr>
      <dsp:spPr>
        <a:xfrm>
          <a:off x="578507" y="1642737"/>
          <a:ext cx="8099102" cy="56088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6127" tIns="0" rIns="306127" bIns="0" numCol="1" spcCol="1270" anchor="ctr" anchorCtr="0">
          <a:noAutofit/>
        </a:bodyPr>
        <a:lstStyle/>
        <a:p>
          <a:pPr marL="0" lvl="0" indent="0" algn="l" defTabSz="844550">
            <a:lnSpc>
              <a:spcPct val="90000"/>
            </a:lnSpc>
            <a:spcBef>
              <a:spcPct val="0"/>
            </a:spcBef>
            <a:spcAft>
              <a:spcPct val="35000"/>
            </a:spcAft>
            <a:buNone/>
          </a:pPr>
          <a:r>
            <a:rPr lang="en-US" sz="1900" b="1" kern="1200" dirty="0"/>
            <a:t>Appropriations of $65 million to assist States and units of local government, and retailers with battery collection and recycling</a:t>
          </a:r>
          <a:endParaRPr lang="en-US" sz="1900" kern="1200" dirty="0"/>
        </a:p>
      </dsp:txBody>
      <dsp:txXfrm>
        <a:off x="605887" y="1670117"/>
        <a:ext cx="8044342" cy="506120"/>
      </dsp:txXfrm>
    </dsp:sp>
    <dsp:sp modelId="{FCE76EF1-CAE4-4147-93FE-9D56272ECCB7}">
      <dsp:nvSpPr>
        <dsp:cNvPr id="0" name=""/>
        <dsp:cNvSpPr/>
      </dsp:nvSpPr>
      <dsp:spPr>
        <a:xfrm>
          <a:off x="0" y="2785017"/>
          <a:ext cx="11570147" cy="1286775"/>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97972" tIns="395732" rIns="897972" bIns="135128" numCol="1" spcCol="1270" anchor="t" anchorCtr="0">
          <a:noAutofit/>
        </a:bodyPr>
        <a:lstStyle/>
        <a:p>
          <a:pPr marL="171450" lvl="1" indent="-171450" algn="l" defTabSz="844550">
            <a:lnSpc>
              <a:spcPct val="90000"/>
            </a:lnSpc>
            <a:spcBef>
              <a:spcPct val="0"/>
            </a:spcBef>
            <a:spcAft>
              <a:spcPct val="15000"/>
            </a:spcAft>
            <a:buClrTx/>
            <a:buSzTx/>
            <a:buFont typeface="Arial,Sans-Serif"/>
            <a:buChar char="•"/>
          </a:pPr>
          <a:r>
            <a:rPr kumimoji="0" lang="en-US" sz="1900" b="0" i="0" u="none" strike="noStrike" kern="1200" cap="none" spc="0" normalizeH="0" baseline="0" noProof="0" dirty="0">
              <a:ln/>
              <a:effectLst/>
              <a:uLnTx/>
              <a:uFillTx/>
              <a:latin typeface="Arial"/>
              <a:ea typeface="+mn-ea"/>
              <a:cs typeface="Arial"/>
            </a:rPr>
            <a:t>Programs can focus on any or all recycling steps such as collecting, handling, sorting, storing, and transporting spent and discarded batteries and electronics containing batteries up to the physical recycling process.</a:t>
          </a:r>
          <a:endParaRPr lang="en-US" sz="1900" kern="1200" dirty="0"/>
        </a:p>
      </dsp:txBody>
      <dsp:txXfrm>
        <a:off x="0" y="2785017"/>
        <a:ext cx="11570147" cy="1286775"/>
      </dsp:txXfrm>
    </dsp:sp>
    <dsp:sp modelId="{183CB36B-88A7-46CA-87F8-51DA47E479C0}">
      <dsp:nvSpPr>
        <dsp:cNvPr id="0" name=""/>
        <dsp:cNvSpPr/>
      </dsp:nvSpPr>
      <dsp:spPr>
        <a:xfrm>
          <a:off x="578507" y="2504577"/>
          <a:ext cx="8099102" cy="56088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6127" tIns="0" rIns="306127" bIns="0" numCol="1" spcCol="1270" anchor="ctr" anchorCtr="0">
          <a:noAutofit/>
        </a:bodyPr>
        <a:lstStyle/>
        <a:p>
          <a:pPr marL="0" lvl="0" indent="0" algn="l" defTabSz="844550">
            <a:lnSpc>
              <a:spcPct val="90000"/>
            </a:lnSpc>
            <a:spcBef>
              <a:spcPct val="0"/>
            </a:spcBef>
            <a:spcAft>
              <a:spcPct val="35000"/>
            </a:spcAft>
            <a:buNone/>
          </a:pPr>
          <a:r>
            <a:rPr kumimoji="0" lang="en-US" sz="1900" b="1" i="0" u="none" strike="noStrike" kern="1200" cap="none" spc="0" normalizeH="0" baseline="0" noProof="0">
              <a:ln/>
              <a:effectLst/>
              <a:uLnTx/>
              <a:uFillTx/>
              <a:ea typeface="+mn-ea"/>
              <a:cs typeface="+mn-cs"/>
            </a:rPr>
            <a:t>Grants to establish or enhance battery collection, recycling, and reprocessing programs.</a:t>
          </a:r>
          <a:endParaRPr lang="en-US" sz="1900" kern="1200" dirty="0"/>
        </a:p>
      </dsp:txBody>
      <dsp:txXfrm>
        <a:off x="605887" y="2531957"/>
        <a:ext cx="8044342" cy="506120"/>
      </dsp:txXfrm>
    </dsp:sp>
    <dsp:sp modelId="{192C66A3-BBEB-4A1D-B360-620A916DEE75}">
      <dsp:nvSpPr>
        <dsp:cNvPr id="0" name=""/>
        <dsp:cNvSpPr/>
      </dsp:nvSpPr>
      <dsp:spPr>
        <a:xfrm>
          <a:off x="0" y="4454832"/>
          <a:ext cx="11570147" cy="478800"/>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85A46C-4CF4-42C6-AD4D-07C761968D93}">
      <dsp:nvSpPr>
        <dsp:cNvPr id="0" name=""/>
        <dsp:cNvSpPr/>
      </dsp:nvSpPr>
      <dsp:spPr>
        <a:xfrm>
          <a:off x="624446" y="4174392"/>
          <a:ext cx="8099102" cy="56088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6127" tIns="0" rIns="306127" bIns="0" numCol="1" spcCol="1270" anchor="ctr" anchorCtr="0">
          <a:noAutofit/>
        </a:bodyPr>
        <a:lstStyle/>
        <a:p>
          <a:pPr marL="0" lvl="0" indent="0" algn="l" defTabSz="844550">
            <a:lnSpc>
              <a:spcPct val="90000"/>
            </a:lnSpc>
            <a:spcBef>
              <a:spcPct val="0"/>
            </a:spcBef>
            <a:spcAft>
              <a:spcPct val="35000"/>
            </a:spcAft>
            <a:buNone/>
          </a:pPr>
          <a:r>
            <a:rPr lang="en-US" sz="1900" b="1" kern="1200"/>
            <a:t>Up to $10M per grant, proposal must include a 50% cost share.  </a:t>
          </a:r>
          <a:endParaRPr lang="en-US" sz="1900" kern="1200" dirty="0"/>
        </a:p>
      </dsp:txBody>
      <dsp:txXfrm>
        <a:off x="651826" y="4201772"/>
        <a:ext cx="8044342" cy="50612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036358A-028D-497E-84A1-DB32FA91A704}" type="datetimeFigureOut">
              <a:rPr lang="en-US" smtClean="0"/>
              <a:t>10/23/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9A49BD8-4528-4345-9FB6-DD34524F1A99}" type="slidenum">
              <a:rPr lang="en-US" smtClean="0"/>
              <a:t>‹#›</a:t>
            </a:fld>
            <a:endParaRPr lang="en-US"/>
          </a:p>
        </p:txBody>
      </p:sp>
    </p:spTree>
    <p:extLst>
      <p:ext uri="{BB962C8B-B14F-4D97-AF65-F5344CB8AC3E}">
        <p14:creationId xmlns:p14="http://schemas.microsoft.com/office/powerpoint/2010/main" val="28055078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unfccc.int/documents/63539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dd verbal introduction</a:t>
            </a:r>
          </a:p>
        </p:txBody>
      </p:sp>
      <p:sp>
        <p:nvSpPr>
          <p:cNvPr id="4" name="Slide Number Placeholder 3"/>
          <p:cNvSpPr>
            <a:spLocks noGrp="1"/>
          </p:cNvSpPr>
          <p:nvPr>
            <p:ph type="sldNum" sz="quarter" idx="5"/>
          </p:nvPr>
        </p:nvSpPr>
        <p:spPr/>
        <p:txBody>
          <a:bodyPr/>
          <a:lstStyle/>
          <a:p>
            <a:fld id="{B9A49BD8-4528-4345-9FB6-DD34524F1A99}" type="slidenum">
              <a:rPr lang="en-US" smtClean="0"/>
              <a:t>1</a:t>
            </a:fld>
            <a:endParaRPr lang="en-US"/>
          </a:p>
        </p:txBody>
      </p:sp>
    </p:spTree>
    <p:extLst>
      <p:ext uri="{BB962C8B-B14F-4D97-AF65-F5344CB8AC3E}">
        <p14:creationId xmlns:p14="http://schemas.microsoft.com/office/powerpoint/2010/main" val="2904303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72412E-EA4F-4DD4-85D4-F020EA83A1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9114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A49BD8-4528-4345-9FB6-DD34524F1A99}" type="slidenum">
              <a:rPr lang="en-US" smtClean="0"/>
              <a:t>14</a:t>
            </a:fld>
            <a:endParaRPr lang="en-US"/>
          </a:p>
        </p:txBody>
      </p:sp>
    </p:spTree>
    <p:extLst>
      <p:ext uri="{BB962C8B-B14F-4D97-AF65-F5344CB8AC3E}">
        <p14:creationId xmlns:p14="http://schemas.microsoft.com/office/powerpoint/2010/main" val="3480457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550950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A49BD8-4528-4345-9FB6-DD34524F1A99}" type="slidenum">
              <a:rPr lang="en-US" smtClean="0"/>
              <a:t>2</a:t>
            </a:fld>
            <a:endParaRPr lang="en-US"/>
          </a:p>
        </p:txBody>
      </p:sp>
    </p:spTree>
    <p:extLst>
      <p:ext uri="{BB962C8B-B14F-4D97-AF65-F5344CB8AC3E}">
        <p14:creationId xmlns:p14="http://schemas.microsoft.com/office/powerpoint/2010/main" val="1889230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A49BD8-4528-4345-9FB6-DD34524F1A99}" type="slidenum">
              <a:rPr lang="en-US" smtClean="0"/>
              <a:t>3</a:t>
            </a:fld>
            <a:endParaRPr lang="en-US"/>
          </a:p>
        </p:txBody>
      </p:sp>
    </p:spTree>
    <p:extLst>
      <p:ext uri="{BB962C8B-B14F-4D97-AF65-F5344CB8AC3E}">
        <p14:creationId xmlns:p14="http://schemas.microsoft.com/office/powerpoint/2010/main" val="2267426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550950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Our topline finding—based on DOE and EPA analyses just released in December—show that the Inflation Reduction Act and Bipartisan Infrastructure Law can help drive down U.S. net greenhouse gas emissions by as much as 41% below 2005 levels by 2030.  - </a:t>
            </a:r>
            <a:r>
              <a:rPr lang="en-US" dirty="0">
                <a:hlinkClick r:id="rId3"/>
              </a:rPr>
              <a:t>Voluntary Supplement to the U.S. Fifth Biennial Report 2023 | UNFCCC</a:t>
            </a:r>
            <a:r>
              <a:rPr lang="en-US" dirty="0"/>
              <a:t>  https://</a:t>
            </a:r>
            <a:r>
              <a:rPr lang="en-US" dirty="0" err="1"/>
              <a:t>unfccc.int</a:t>
            </a:r>
            <a:r>
              <a:rPr lang="en-US" dirty="0"/>
              <a:t>/documents/635393</a:t>
            </a:r>
          </a:p>
          <a:p>
            <a:pPr marL="171450" indent="-171450">
              <a:buFont typeface="Arial" panose="020B0604020202020204" pitchFamily="34" charset="0"/>
              <a:buChar char="•"/>
            </a:pPr>
            <a:r>
              <a:rPr lang="en-US" dirty="0"/>
              <a:t>This represents a near doubling in emissions reductions compared to what was expected before IRA and BIL.</a:t>
            </a:r>
          </a:p>
          <a:p>
            <a:pPr marL="171450" indent="-171450">
              <a:buFont typeface="Arial" panose="020B0604020202020204" pitchFamily="34" charset="0"/>
              <a:buChar char="•"/>
            </a:pPr>
            <a:r>
              <a:rPr lang="en-US" dirty="0"/>
              <a:t>This legislation puts the U.S. in a strong position to achieve our climate goals through additional action, including private sector investment catalyzed by IRA and BIL.</a:t>
            </a:r>
          </a:p>
          <a:p>
            <a:pPr marL="171450" indent="-171450">
              <a:buFont typeface="Arial" panose="020B0604020202020204" pitchFamily="34" charset="0"/>
              <a:buChar char="•"/>
            </a:pPr>
            <a:r>
              <a:rPr lang="en-US" dirty="0"/>
              <a:t>These bills represent a historic investment in energy and climate action through a combination of tax credits, direct federal spending, competitive grants, and loan programs,</a:t>
            </a:r>
          </a:p>
          <a:p>
            <a:pPr marL="628650" lvl="1" indent="-171450">
              <a:buFont typeface="Arial" panose="020B0604020202020204" pitchFamily="34" charset="0"/>
              <a:buChar char="•"/>
            </a:pPr>
            <a:r>
              <a:rPr lang="en-US" dirty="0"/>
              <a:t>And are projected to rapidly spur clean energy and transportation deployment, increase energy efficiency, deploy enabling infrastructure, innovate across sectors, expand and secure supply chains, and ensure that benefits are equitable.</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73121F0D-7777-422C-A84A-0E09290A93D9}" type="slidenum">
              <a:rPr lang="en-US" smtClean="0"/>
              <a:t>6</a:t>
            </a:fld>
            <a:endParaRPr lang="en-US"/>
          </a:p>
        </p:txBody>
      </p:sp>
    </p:spTree>
    <p:extLst>
      <p:ext uri="{BB962C8B-B14F-4D97-AF65-F5344CB8AC3E}">
        <p14:creationId xmlns:p14="http://schemas.microsoft.com/office/powerpoint/2010/main" val="2837504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A49BD8-4528-4345-9FB6-DD34524F1A99}" type="slidenum">
              <a:rPr lang="en-US" smtClean="0"/>
              <a:t>8</a:t>
            </a:fld>
            <a:endParaRPr lang="en-US"/>
          </a:p>
        </p:txBody>
      </p:sp>
    </p:spTree>
    <p:extLst>
      <p:ext uri="{BB962C8B-B14F-4D97-AF65-F5344CB8AC3E}">
        <p14:creationId xmlns:p14="http://schemas.microsoft.com/office/powerpoint/2010/main" val="1150316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A49BD8-4528-4345-9FB6-DD34524F1A99}" type="slidenum">
              <a:rPr lang="en-US" smtClean="0"/>
              <a:t>9</a:t>
            </a:fld>
            <a:endParaRPr lang="en-US"/>
          </a:p>
        </p:txBody>
      </p:sp>
    </p:spTree>
    <p:extLst>
      <p:ext uri="{BB962C8B-B14F-4D97-AF65-F5344CB8AC3E}">
        <p14:creationId xmlns:p14="http://schemas.microsoft.com/office/powerpoint/2010/main" val="3249661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9A36985-DB09-4EDE-B749-442CCA5FA813}" type="slidenum">
              <a:rPr lang="en-US" smtClean="0"/>
              <a:t>10</a:t>
            </a:fld>
            <a:endParaRPr lang="en-US"/>
          </a:p>
        </p:txBody>
      </p:sp>
    </p:spTree>
    <p:extLst>
      <p:ext uri="{BB962C8B-B14F-4D97-AF65-F5344CB8AC3E}">
        <p14:creationId xmlns:p14="http://schemas.microsoft.com/office/powerpoint/2010/main" val="3320182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9A49BD8-4528-4345-9FB6-DD34524F1A99}" type="slidenum">
              <a:rPr lang="en-US" smtClean="0"/>
              <a:t>11</a:t>
            </a:fld>
            <a:endParaRPr lang="en-US"/>
          </a:p>
        </p:txBody>
      </p:sp>
    </p:spTree>
    <p:extLst>
      <p:ext uri="{BB962C8B-B14F-4D97-AF65-F5344CB8AC3E}">
        <p14:creationId xmlns:p14="http://schemas.microsoft.com/office/powerpoint/2010/main" val="857132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3_PosterMural">
    <p:spTree>
      <p:nvGrpSpPr>
        <p:cNvPr id="1" name=""/>
        <p:cNvGrpSpPr/>
        <p:nvPr/>
      </p:nvGrpSpPr>
      <p:grpSpPr>
        <a:xfrm>
          <a:off x="0" y="0"/>
          <a:ext cx="0" cy="0"/>
          <a:chOff x="0" y="0"/>
          <a:chExt cx="0" cy="0"/>
        </a:xfrm>
      </p:grpSpPr>
      <p:pic>
        <p:nvPicPr>
          <p:cNvPr id="3" name="Picture 2" descr="A collage of images of energy&#10;&#10;Description automatically generated">
            <a:extLst>
              <a:ext uri="{FF2B5EF4-FFF2-40B4-BE49-F238E27FC236}">
                <a16:creationId xmlns:a16="http://schemas.microsoft.com/office/drawing/2014/main" id="{88AC04DC-FBCA-F19A-E839-6A21F85D0F5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3860800"/>
          </a:xfrm>
          <a:prstGeom prst="rect">
            <a:avLst/>
          </a:prstGeom>
        </p:spPr>
      </p:pic>
      <p:sp>
        <p:nvSpPr>
          <p:cNvPr id="19" name="Subtitle 2"/>
          <p:cNvSpPr>
            <a:spLocks noGrp="1"/>
          </p:cNvSpPr>
          <p:nvPr>
            <p:ph type="subTitle" idx="1" hasCustomPrompt="1"/>
          </p:nvPr>
        </p:nvSpPr>
        <p:spPr>
          <a:xfrm>
            <a:off x="5041801" y="4040678"/>
            <a:ext cx="6837680" cy="2591738"/>
          </a:xfrm>
          <a:prstGeom prst="rect">
            <a:avLst/>
          </a:prstGeom>
        </p:spPr>
        <p:txBody>
          <a:bodyPr>
            <a:normAutofit/>
          </a:bodyPr>
          <a:lstStyle>
            <a:lvl1pPr marL="0" indent="0" algn="l">
              <a:buNone/>
              <a:defRPr sz="4400" b="1" i="0" baseline="0">
                <a:solidFill>
                  <a:schemeClr val="tx2"/>
                </a:solidFill>
                <a:latin typeface="Figtree"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a:t>
            </a:r>
            <a:br>
              <a:rPr lang="en-US" dirty="0"/>
            </a:br>
            <a:r>
              <a:rPr lang="en-US" dirty="0"/>
              <a:t>Master title style</a:t>
            </a:r>
          </a:p>
        </p:txBody>
      </p:sp>
      <p:sp>
        <p:nvSpPr>
          <p:cNvPr id="20" name="Text Placeholder 17"/>
          <p:cNvSpPr>
            <a:spLocks noGrp="1"/>
          </p:cNvSpPr>
          <p:nvPr>
            <p:ph type="body" sz="quarter" idx="10" hasCustomPrompt="1"/>
          </p:nvPr>
        </p:nvSpPr>
        <p:spPr>
          <a:xfrm>
            <a:off x="1575572" y="5363922"/>
            <a:ext cx="3119733" cy="604407"/>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Figtree" pitchFamily="2" charset="0"/>
                <a:cs typeface="Arial"/>
              </a:defRPr>
            </a:lvl1pPr>
          </a:lstStyle>
          <a:p>
            <a:pPr lvl="0"/>
            <a:r>
              <a:rPr lang="en-US" noProof="0" dirty="0"/>
              <a:t>Click to edit master text styles</a:t>
            </a:r>
          </a:p>
        </p:txBody>
      </p:sp>
      <p:sp>
        <p:nvSpPr>
          <p:cNvPr id="22" name="Text Placeholder 18"/>
          <p:cNvSpPr>
            <a:spLocks noGrp="1"/>
          </p:cNvSpPr>
          <p:nvPr>
            <p:ph type="body" sz="quarter" idx="13" hasCustomPrompt="1"/>
          </p:nvPr>
        </p:nvSpPr>
        <p:spPr>
          <a:xfrm>
            <a:off x="1575571" y="6105472"/>
            <a:ext cx="3119733" cy="526944"/>
          </a:xfrm>
          <a:prstGeom prst="rect">
            <a:avLst/>
          </a:prstGeom>
        </p:spPr>
        <p:txBody>
          <a:bodyPr>
            <a:normAutofit/>
          </a:bodyPr>
          <a:lstStyle>
            <a:lvl1pPr>
              <a:buNone/>
              <a:defRPr sz="1200">
                <a:solidFill>
                  <a:schemeClr val="tx2"/>
                </a:solidFill>
                <a:latin typeface="Figtree" pitchFamily="2" charset="0"/>
                <a:cs typeface="Calibri" panose="020F0502020204030204" pitchFamily="34" charset="0"/>
              </a:defRPr>
            </a:lvl1pPr>
            <a:lvl5pPr>
              <a:defRPr/>
            </a:lvl5pPr>
          </a:lstStyle>
          <a:p>
            <a:pPr lvl="0"/>
            <a:r>
              <a:rPr lang="en-US" dirty="0"/>
              <a:t>Click to edit master text styles</a:t>
            </a:r>
          </a:p>
        </p:txBody>
      </p:sp>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12519" y="4055492"/>
            <a:ext cx="4287614" cy="618429"/>
          </a:xfrm>
          <a:prstGeom prst="rect">
            <a:avLst/>
          </a:prstGeom>
        </p:spPr>
      </p:pic>
      <p:sp>
        <p:nvSpPr>
          <p:cNvPr id="2" name="Rectangle 1">
            <a:extLst>
              <a:ext uri="{FF2B5EF4-FFF2-40B4-BE49-F238E27FC236}">
                <a16:creationId xmlns:a16="http://schemas.microsoft.com/office/drawing/2014/main" id="{D8AD6CCF-DDBD-641E-B43A-57196DB63C76}"/>
              </a:ext>
            </a:extLst>
          </p:cNvPr>
          <p:cNvSpPr/>
          <p:nvPr userDrawn="1"/>
        </p:nvSpPr>
        <p:spPr>
          <a:xfrm>
            <a:off x="2936630" y="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FB6212B-ADDF-87E7-09A3-D5B3C21C8719}"/>
              </a:ext>
            </a:extLst>
          </p:cNvPr>
          <p:cNvSpPr/>
          <p:nvPr userDrawn="1"/>
        </p:nvSpPr>
        <p:spPr>
          <a:xfrm>
            <a:off x="6049106" y="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573ECAC-0960-AFC5-82CD-93A2AF58AE6D}"/>
              </a:ext>
            </a:extLst>
          </p:cNvPr>
          <p:cNvSpPr/>
          <p:nvPr userDrawn="1"/>
        </p:nvSpPr>
        <p:spPr>
          <a:xfrm>
            <a:off x="9161583" y="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8799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Wide Blue Title_Hidden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Figtree" pitchFamily="2" charset="0"/>
                <a:cs typeface="Figtree" pitchFamily="2" charset="0"/>
              </a:defRPr>
            </a:lvl1pPr>
          </a:lstStyle>
          <a:p>
            <a:r>
              <a:rPr lang="en-US" dirty="0"/>
              <a:t>Click to edit Master title style</a:t>
            </a:r>
            <a:endParaRPr dirty="0"/>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84335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Wide Content Navy Grid Texture">
    <p:bg>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hqprint">
            <a:alphaModFix amt="30000"/>
            <a:extLst>
              <a:ext uri="{28A0092B-C50C-407E-A947-70E740481C1C}">
                <a14:useLocalDpi xmlns:a14="http://schemas.microsoft.com/office/drawing/2010/main"/>
              </a:ext>
            </a:extLst>
          </a:blip>
          <a:srcRect/>
          <a:stretch/>
        </p:blipFill>
        <p:spPr>
          <a:xfrm>
            <a:off x="7430" y="-14625"/>
            <a:ext cx="12192000"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04837"/>
            <a:ext cx="10560941" cy="492443"/>
          </a:xfrm>
          <a:prstGeom prst="rect">
            <a:avLst/>
          </a:prstGeom>
        </p:spPr>
        <p:txBody>
          <a:bodyPr wrap="square" lIns="91440" tIns="0" rIns="91440" bIns="0" anchor="b" anchorCtr="0">
            <a:spAutoFit/>
          </a:bodyPr>
          <a:lstStyle>
            <a:lvl1pPr algn="ctr">
              <a:defRPr sz="3200" b="1" i="0">
                <a:solidFill>
                  <a:schemeClr val="bg1"/>
                </a:solidFill>
                <a:latin typeface="Avenir Black" panose="02000503020000020003" pitchFamily="2" charset="0"/>
                <a:cs typeface="Avenir Black" panose="02000503020000020003" pitchFamily="2" charset="0"/>
              </a:defRPr>
            </a:lvl1pPr>
          </a:lstStyle>
          <a:p>
            <a:r>
              <a:rPr lang="en-US" dirty="0"/>
              <a:t>Click to edit Master title style</a:t>
            </a:r>
            <a:endParaRPr dirty="0"/>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dirty="0"/>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1987597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Figtree" pitchFamily="2" charset="0"/>
                <a:cs typeface="Figtree" pitchFamily="2" charset="0"/>
              </a:defRPr>
            </a:lvl1pPr>
          </a:lstStyle>
          <a:p>
            <a:r>
              <a:rPr lang="en-US" dirty="0"/>
              <a:t>Click to edit Master title style</a:t>
            </a:r>
            <a:endParaRPr dirty="0"/>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39426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ESC Explainer Deck 2024 - 2 Co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8E1A818-4B0A-0A85-1486-B28B6AB5B8B0}"/>
              </a:ext>
            </a:extLst>
          </p:cNvPr>
          <p:cNvSpPr>
            <a:spLocks/>
          </p:cNvSpPr>
          <p:nvPr userDrawn="1"/>
        </p:nvSpPr>
        <p:spPr>
          <a:xfrm>
            <a:off x="12044034" y="6321357"/>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3C1A6B19-FD3F-0B97-23F4-1C904FD5BB06}"/>
              </a:ext>
            </a:extLst>
          </p:cNvPr>
          <p:cNvGrpSpPr/>
          <p:nvPr userDrawn="1"/>
        </p:nvGrpSpPr>
        <p:grpSpPr>
          <a:xfrm>
            <a:off x="8740673" y="6320527"/>
            <a:ext cx="520560" cy="480764"/>
            <a:chOff x="8740673" y="6320527"/>
            <a:chExt cx="520560" cy="480764"/>
          </a:xfrm>
        </p:grpSpPr>
        <p:sp>
          <p:nvSpPr>
            <p:cNvPr id="8" name="Rectangle 5">
              <a:extLst>
                <a:ext uri="{FF2B5EF4-FFF2-40B4-BE49-F238E27FC236}">
                  <a16:creationId xmlns:a16="http://schemas.microsoft.com/office/drawing/2014/main" id="{D3A0F093-1EBA-EADA-34F7-4EBA96DF974D}"/>
                </a:ext>
              </a:extLst>
            </p:cNvPr>
            <p:cNvSpPr>
              <a:spLocks/>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5">
              <a:extLst>
                <a:ext uri="{FF2B5EF4-FFF2-40B4-BE49-F238E27FC236}">
                  <a16:creationId xmlns:a16="http://schemas.microsoft.com/office/drawing/2014/main" id="{9DC83201-BAF2-4CCE-708E-80B985D405B8}"/>
                </a:ext>
              </a:extLst>
            </p:cNvPr>
            <p:cNvSpPr>
              <a:spLocks/>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5">
              <a:extLst>
                <a:ext uri="{FF2B5EF4-FFF2-40B4-BE49-F238E27FC236}">
                  <a16:creationId xmlns:a16="http://schemas.microsoft.com/office/drawing/2014/main" id="{A0E9D342-134A-73E2-8E6B-D13004F0CCE1}"/>
                </a:ext>
              </a:extLst>
            </p:cNvPr>
            <p:cNvSpPr>
              <a:spLocks/>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6">
              <a:extLst>
                <a:ext uri="{FF2B5EF4-FFF2-40B4-BE49-F238E27FC236}">
                  <a16:creationId xmlns:a16="http://schemas.microsoft.com/office/drawing/2014/main" id="{0C70ABD9-4A46-ADC4-B45F-D3C4DEC01C79}"/>
                </a:ext>
              </a:extLst>
            </p:cNvPr>
            <p:cNvSpPr>
              <a:spLocks/>
            </p:cNvSpPr>
            <p:nvPr userDrawn="1"/>
          </p:nvSpPr>
          <p:spPr>
            <a:xfrm rot="10800000" flipH="1">
              <a:off x="8773100" y="6321351"/>
              <a:ext cx="488133" cy="479940"/>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473571">
                  <a:moveTo>
                    <a:pt x="0" y="6590"/>
                  </a:moveTo>
                  <a:lnTo>
                    <a:pt x="488133" y="0"/>
                  </a:lnTo>
                  <a:lnTo>
                    <a:pt x="488133" y="473571"/>
                  </a:lnTo>
                  <a:lnTo>
                    <a:pt x="236135" y="473571"/>
                  </a:lnTo>
                  <a:lnTo>
                    <a:pt x="0" y="659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385184" y="1332138"/>
            <a:ext cx="5271338"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5926660" y="1332138"/>
            <a:ext cx="5325487"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ooter Placeholder 4">
            <a:extLst>
              <a:ext uri="{FF2B5EF4-FFF2-40B4-BE49-F238E27FC236}">
                <a16:creationId xmlns:a16="http://schemas.microsoft.com/office/drawing/2014/main" id="{DF5A2726-6F07-4011-7347-9B6C115143C1}"/>
              </a:ext>
            </a:extLst>
          </p:cNvPr>
          <p:cNvSpPr>
            <a:spLocks noGrp="1"/>
          </p:cNvSpPr>
          <p:nvPr>
            <p:ph type="ftr" sz="quarter" idx="3"/>
          </p:nvPr>
        </p:nvSpPr>
        <p:spPr>
          <a:xfrm>
            <a:off x="385184" y="64975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9" name="Holder 5">
            <a:extLst>
              <a:ext uri="{FF2B5EF4-FFF2-40B4-BE49-F238E27FC236}">
                <a16:creationId xmlns:a16="http://schemas.microsoft.com/office/drawing/2014/main" id="{C136E73A-6270-8DDB-0789-37043D04969B}"/>
              </a:ext>
            </a:extLst>
          </p:cNvPr>
          <p:cNvSpPr>
            <a:spLocks noGrp="1"/>
          </p:cNvSpPr>
          <p:nvPr>
            <p:ph type="dt" sz="half" idx="10"/>
          </p:nvPr>
        </p:nvSpPr>
        <p:spPr>
          <a:xfrm>
            <a:off x="6757385" y="64975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20" name="Holder 2">
            <a:extLst>
              <a:ext uri="{FF2B5EF4-FFF2-40B4-BE49-F238E27FC236}">
                <a16:creationId xmlns:a16="http://schemas.microsoft.com/office/drawing/2014/main" id="{2CD8878F-3EAB-9688-B86C-E6D6CA89C217}"/>
              </a:ext>
            </a:extLst>
          </p:cNvPr>
          <p:cNvSpPr>
            <a:spLocks noGrp="1"/>
          </p:cNvSpPr>
          <p:nvPr>
            <p:ph type="title"/>
          </p:nvPr>
        </p:nvSpPr>
        <p:spPr>
          <a:xfrm>
            <a:off x="385184" y="284452"/>
            <a:ext cx="10866964" cy="461665"/>
          </a:xfrm>
          <a:prstGeom prst="rect">
            <a:avLst/>
          </a:prstGeom>
        </p:spPr>
        <p:txBody>
          <a:bodyPr wrap="square" lIns="91440" tIns="0" rIns="91440" bIns="0" anchor="t" anchorCtr="0">
            <a:spAutoFit/>
          </a:bodyPr>
          <a:lstStyle>
            <a:lvl1pPr algn="l">
              <a:defRPr sz="3000" b="1" i="0">
                <a:solidFill>
                  <a:schemeClr val="tx2"/>
                </a:solidFill>
                <a:latin typeface="Figtree" pitchFamily="2" charset="0"/>
                <a:cs typeface="Figtree" pitchFamily="2" charset="0"/>
              </a:defRPr>
            </a:lvl1pPr>
          </a:lstStyle>
          <a:p>
            <a:r>
              <a:rPr lang="en-US" dirty="0"/>
              <a:t>Click to edit Master title style</a:t>
            </a:r>
          </a:p>
        </p:txBody>
      </p:sp>
      <p:sp>
        <p:nvSpPr>
          <p:cNvPr id="2" name="Rectangle 1">
            <a:extLst>
              <a:ext uri="{FF2B5EF4-FFF2-40B4-BE49-F238E27FC236}">
                <a16:creationId xmlns:a16="http://schemas.microsoft.com/office/drawing/2014/main" id="{7CE32D78-930E-0963-F242-57448B83C8CC}"/>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a:extLst>
              <a:ext uri="{FF2B5EF4-FFF2-40B4-BE49-F238E27FC236}">
                <a16:creationId xmlns:a16="http://schemas.microsoft.com/office/drawing/2014/main" id="{29909D21-D9D2-3910-A56F-30488653E94B}"/>
              </a:ext>
            </a:extLst>
          </p:cNvPr>
          <p:cNvSpPr>
            <a:spLocks noGrp="1"/>
          </p:cNvSpPr>
          <p:nvPr>
            <p:ph type="sldNum" sz="quarter" idx="4"/>
          </p:nvPr>
        </p:nvSpPr>
        <p:spPr>
          <a:xfrm>
            <a:off x="8747733" y="6503186"/>
            <a:ext cx="508000" cy="153888"/>
          </a:xfrm>
          <a:prstGeom prst="rect">
            <a:avLst/>
          </a:prstGeom>
        </p:spPr>
        <p:txBody>
          <a:bodyPr anchor="ctr"/>
          <a:lstStyle>
            <a:lvl1pPr algn="r">
              <a:defRPr sz="1000" b="1" i="0">
                <a:solidFill>
                  <a:schemeClr val="bg1"/>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Tree>
    <p:extLst>
      <p:ext uri="{BB962C8B-B14F-4D97-AF65-F5344CB8AC3E}">
        <p14:creationId xmlns:p14="http://schemas.microsoft.com/office/powerpoint/2010/main" val="21913968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MESC Explainer Deck 2024 - 2 Col Logo on Left">
    <p:spTree>
      <p:nvGrpSpPr>
        <p:cNvPr id="1" name=""/>
        <p:cNvGrpSpPr/>
        <p:nvPr/>
      </p:nvGrpSpPr>
      <p:grpSpPr>
        <a:xfrm>
          <a:off x="0" y="0"/>
          <a:ext cx="0" cy="0"/>
          <a:chOff x="0" y="0"/>
          <a:chExt cx="0" cy="0"/>
        </a:xfrm>
      </p:grpSpPr>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2836752" y="6575526"/>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dirty="0"/>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8924443" y="6575525"/>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dirty="0"/>
          </a:p>
        </p:txBody>
      </p:sp>
      <p:sp>
        <p:nvSpPr>
          <p:cNvPr id="11" name="Content Placeholder 2">
            <a:extLst>
              <a:ext uri="{FF2B5EF4-FFF2-40B4-BE49-F238E27FC236}">
                <a16:creationId xmlns:a16="http://schemas.microsoft.com/office/drawing/2014/main" id="{D631223E-55D2-3905-B56A-4EC9DD424BE7}"/>
              </a:ext>
            </a:extLst>
          </p:cNvPr>
          <p:cNvSpPr>
            <a:spLocks noGrp="1"/>
          </p:cNvSpPr>
          <p:nvPr>
            <p:ph sz="half" idx="1"/>
          </p:nvPr>
        </p:nvSpPr>
        <p:spPr>
          <a:xfrm>
            <a:off x="385184" y="1332138"/>
            <a:ext cx="5271338"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00DBB966-BD8D-90B1-810C-35466D6EB34D}"/>
              </a:ext>
            </a:extLst>
          </p:cNvPr>
          <p:cNvSpPr>
            <a:spLocks noGrp="1"/>
          </p:cNvSpPr>
          <p:nvPr>
            <p:ph sz="half" idx="2"/>
          </p:nvPr>
        </p:nvSpPr>
        <p:spPr>
          <a:xfrm>
            <a:off x="5926660" y="1332138"/>
            <a:ext cx="5325487"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Holder 2">
            <a:extLst>
              <a:ext uri="{FF2B5EF4-FFF2-40B4-BE49-F238E27FC236}">
                <a16:creationId xmlns:a16="http://schemas.microsoft.com/office/drawing/2014/main" id="{96D60FDA-E16C-00FF-421C-5F0A7BADA002}"/>
              </a:ext>
            </a:extLst>
          </p:cNvPr>
          <p:cNvSpPr>
            <a:spLocks noGrp="1"/>
          </p:cNvSpPr>
          <p:nvPr>
            <p:ph type="title"/>
          </p:nvPr>
        </p:nvSpPr>
        <p:spPr>
          <a:xfrm>
            <a:off x="385184" y="281630"/>
            <a:ext cx="10866964" cy="461665"/>
          </a:xfrm>
          <a:prstGeom prst="rect">
            <a:avLst/>
          </a:prstGeom>
        </p:spPr>
        <p:txBody>
          <a:bodyPr wrap="square" lIns="91440" tIns="0" rIns="91440" bIns="0" anchor="t" anchorCtr="0">
            <a:spAutoFit/>
          </a:bodyPr>
          <a:lstStyle>
            <a:lvl1pPr algn="l">
              <a:defRPr sz="3000" b="1" i="0">
                <a:solidFill>
                  <a:schemeClr val="tx2"/>
                </a:solidFill>
                <a:latin typeface="Avenir Heavy" panose="02000503020000020003" pitchFamily="2" charset="0"/>
                <a:cs typeface="Avenir Heavy" panose="02000503020000020003" pitchFamily="2" charset="0"/>
              </a:defRPr>
            </a:lvl1pPr>
          </a:lstStyle>
          <a:p>
            <a:r>
              <a:rPr lang="en-US" dirty="0"/>
              <a:t>Click to edit Master title style</a:t>
            </a:r>
          </a:p>
        </p:txBody>
      </p:sp>
      <p:sp>
        <p:nvSpPr>
          <p:cNvPr id="2" name="Rectangle 1">
            <a:extLst>
              <a:ext uri="{FF2B5EF4-FFF2-40B4-BE49-F238E27FC236}">
                <a16:creationId xmlns:a16="http://schemas.microsoft.com/office/drawing/2014/main" id="{6963FAA7-F57E-0BC1-3187-2CCC018C7176}"/>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FEAEC449-52E5-7A20-4BF2-D8611D37C7AF}"/>
              </a:ext>
            </a:extLst>
          </p:cNvPr>
          <p:cNvGrpSpPr>
            <a:grpSpLocks noGrp="1" noUngrp="1" noRot="1" noMove="1" noResize="1"/>
          </p:cNvGrpSpPr>
          <p:nvPr userDrawn="1"/>
        </p:nvGrpSpPr>
        <p:grpSpPr>
          <a:xfrm>
            <a:off x="11609262" y="6323328"/>
            <a:ext cx="606670" cy="476662"/>
            <a:chOff x="8740673" y="6320527"/>
            <a:chExt cx="606670" cy="476662"/>
          </a:xfrm>
        </p:grpSpPr>
        <p:sp>
          <p:nvSpPr>
            <p:cNvPr id="8" name="Rectangle 5">
              <a:extLst>
                <a:ext uri="{FF2B5EF4-FFF2-40B4-BE49-F238E27FC236}">
                  <a16:creationId xmlns:a16="http://schemas.microsoft.com/office/drawing/2014/main" id="{C813B840-632B-705C-9B2E-F3EC24A3BD06}"/>
                </a:ext>
              </a:extLst>
            </p:cNvPr>
            <p:cNvSpPr>
              <a:spLocks noGrp="1" noRot="1" noMove="1" noResize="1" noEditPoints="1" noAdjustHandles="1" noChangeArrowheads="1" noChangeShapeType="1"/>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5">
              <a:extLst>
                <a:ext uri="{FF2B5EF4-FFF2-40B4-BE49-F238E27FC236}">
                  <a16:creationId xmlns:a16="http://schemas.microsoft.com/office/drawing/2014/main" id="{8E483AAA-0912-8A17-F059-C00430878A86}"/>
                </a:ext>
              </a:extLst>
            </p:cNvPr>
            <p:cNvSpPr>
              <a:spLocks noGrp="1" noRot="1" noMove="1" noResize="1" noEditPoints="1" noAdjustHandles="1" noChangeArrowheads="1" noChangeShapeType="1"/>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5">
              <a:extLst>
                <a:ext uri="{FF2B5EF4-FFF2-40B4-BE49-F238E27FC236}">
                  <a16:creationId xmlns:a16="http://schemas.microsoft.com/office/drawing/2014/main" id="{3B7F2B98-1F66-87D8-FE54-95BAD159E50A}"/>
                </a:ext>
              </a:extLst>
            </p:cNvPr>
            <p:cNvSpPr>
              <a:spLocks noGrp="1" noRot="1" noMove="1" noResize="1" noEditPoints="1" noAdjustHandles="1" noChangeArrowheads="1" noChangeShapeType="1"/>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6">
              <a:extLst>
                <a:ext uri="{FF2B5EF4-FFF2-40B4-BE49-F238E27FC236}">
                  <a16:creationId xmlns:a16="http://schemas.microsoft.com/office/drawing/2014/main" id="{9EF67AD5-9EE3-5DD5-D85D-3C19609F78D1}"/>
                </a:ext>
              </a:extLst>
            </p:cNvPr>
            <p:cNvSpPr>
              <a:spLocks noGrp="1" noRot="1" noMove="1" noResize="1" noEditPoints="1" noAdjustHandles="1" noChangeArrowheads="1" noChangeShapeType="1"/>
            </p:cNvSpPr>
            <p:nvPr userDrawn="1"/>
          </p:nvSpPr>
          <p:spPr>
            <a:xfrm rot="10800000" flipH="1">
              <a:off x="8773101" y="6321351"/>
              <a:ext cx="574242" cy="475838"/>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 name="connsiteX0" fmla="*/ 0 w 574242"/>
                <a:gd name="connsiteY0" fmla="*/ 6590 h 473571"/>
                <a:gd name="connsiteX1" fmla="*/ 488133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6590 h 473571"/>
                <a:gd name="connsiteX1" fmla="*/ 574242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0 h 466981"/>
                <a:gd name="connsiteX1" fmla="*/ 574242 w 574242"/>
                <a:gd name="connsiteY1" fmla="*/ 5549 h 466981"/>
                <a:gd name="connsiteX2" fmla="*/ 574242 w 574242"/>
                <a:gd name="connsiteY2" fmla="*/ 462935 h 466981"/>
                <a:gd name="connsiteX3" fmla="*/ 236135 w 574242"/>
                <a:gd name="connsiteY3" fmla="*/ 466981 h 466981"/>
                <a:gd name="connsiteX4" fmla="*/ 0 w 574242"/>
                <a:gd name="connsiteY4" fmla="*/ 0 h 466981"/>
                <a:gd name="connsiteX0" fmla="*/ 0 w 574242"/>
                <a:gd name="connsiteY0" fmla="*/ 2543 h 469524"/>
                <a:gd name="connsiteX1" fmla="*/ 574242 w 574242"/>
                <a:gd name="connsiteY1" fmla="*/ 0 h 469524"/>
                <a:gd name="connsiteX2" fmla="*/ 574242 w 574242"/>
                <a:gd name="connsiteY2" fmla="*/ 465478 h 469524"/>
                <a:gd name="connsiteX3" fmla="*/ 236135 w 574242"/>
                <a:gd name="connsiteY3" fmla="*/ 469524 h 469524"/>
                <a:gd name="connsiteX4" fmla="*/ 0 w 574242"/>
                <a:gd name="connsiteY4" fmla="*/ 2543 h 46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242" h="469524">
                  <a:moveTo>
                    <a:pt x="0" y="2543"/>
                  </a:moveTo>
                  <a:lnTo>
                    <a:pt x="574242" y="0"/>
                  </a:lnTo>
                  <a:lnTo>
                    <a:pt x="574242" y="465478"/>
                  </a:lnTo>
                  <a:lnTo>
                    <a:pt x="236135" y="469524"/>
                  </a:lnTo>
                  <a:lnTo>
                    <a:pt x="0" y="2543"/>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Picture 18">
            <a:extLst>
              <a:ext uri="{FF2B5EF4-FFF2-40B4-BE49-F238E27FC236}">
                <a16:creationId xmlns:a16="http://schemas.microsoft.com/office/drawing/2014/main" id="{01D30AA4-2457-E22A-E84A-6C4CD054D8C7}"/>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234921" y="6373266"/>
            <a:ext cx="2563796" cy="369792"/>
          </a:xfrm>
          <a:prstGeom prst="rect">
            <a:avLst/>
          </a:prstGeom>
        </p:spPr>
      </p:pic>
      <p:sp>
        <p:nvSpPr>
          <p:cNvPr id="20" name="Rectangle 19">
            <a:extLst>
              <a:ext uri="{FF2B5EF4-FFF2-40B4-BE49-F238E27FC236}">
                <a16:creationId xmlns:a16="http://schemas.microsoft.com/office/drawing/2014/main" id="{0257FB0C-784C-B14E-D01D-C70347BDAF56}"/>
              </a:ext>
            </a:extLst>
          </p:cNvPr>
          <p:cNvSpPr>
            <a:spLocks noGrp="1" noRot="1" noMove="1" noResize="1" noEditPoints="1" noAdjustHandles="1" noChangeArrowheads="1" noChangeShapeType="1"/>
          </p:cNvSpPr>
          <p:nvPr userDrawn="1"/>
        </p:nvSpPr>
        <p:spPr>
          <a:xfrm>
            <a:off x="1" y="6321378"/>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EBF3915-2B1F-CB69-FC4D-695A8542B0FA}"/>
              </a:ext>
            </a:extLst>
          </p:cNvPr>
          <p:cNvSpPr/>
          <p:nvPr userDrawn="1"/>
        </p:nvSpPr>
        <p:spPr>
          <a:xfrm rot="10800000">
            <a:off x="0" y="6321377"/>
            <a:ext cx="45719" cy="47357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a:extLst>
              <a:ext uri="{FF2B5EF4-FFF2-40B4-BE49-F238E27FC236}">
                <a16:creationId xmlns:a16="http://schemas.microsoft.com/office/drawing/2014/main" id="{CFF1815F-0215-DE61-6EB2-C6E07618E912}"/>
              </a:ext>
            </a:extLst>
          </p:cNvPr>
          <p:cNvSpPr txBox="1">
            <a:spLocks noGrp="1" noRot="1" noMove="1" noResize="1" noEditPoints="1" noAdjustHandles="1" noChangeArrowheads="1" noChangeShapeType="1"/>
          </p:cNvSpPr>
          <p:nvPr userDrawn="1"/>
        </p:nvSpPr>
        <p:spPr>
          <a:xfrm>
            <a:off x="11618406" y="6515794"/>
            <a:ext cx="508000" cy="153888"/>
          </a:xfrm>
          <a:prstGeom prst="rect">
            <a:avLst/>
          </a:prstGeom>
        </p:spPr>
        <p:txBody>
          <a:bodyPr anchor="ctr"/>
          <a:lstStyle>
            <a:defPPr>
              <a:defRPr lang="en-US"/>
            </a:defPPr>
            <a:lvl1pPr marL="0" algn="r" defTabSz="914400" rtl="0" eaLnBrk="1" latinLnBrk="0" hangingPunct="1">
              <a:defRPr sz="1000" b="1" i="0" kern="1200">
                <a:solidFill>
                  <a:schemeClr val="accent5"/>
                </a:solidFill>
                <a:latin typeface="Avenir Black" panose="02000503020000020003" pitchFamily="2"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B5F485-982A-41B4-B657-C5770F0E9220}"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13843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470990"/>
            <a:ext cx="3892826" cy="4212485"/>
          </a:xfrm>
          <a:prstGeom prst="rect">
            <a:avLst/>
          </a:prstGeom>
        </p:spPr>
        <p:txBody>
          <a:bodyPr/>
          <a:lstStyle>
            <a:lvl1pPr>
              <a:buClr>
                <a:schemeClr val="tx2"/>
              </a:buClr>
              <a:defRPr b="0" i="0">
                <a:solidFill>
                  <a:schemeClr val="tx1"/>
                </a:solidFill>
                <a:latin typeface="Arial" panose="020B0604020202020204" pitchFamily="34" charset="0"/>
                <a:cs typeface="Arial" panose="020B0604020202020204" pitchFamily="34" charset="0"/>
              </a:defRPr>
            </a:lvl1pPr>
            <a:lvl2pPr>
              <a:buClr>
                <a:schemeClr val="tx2"/>
              </a:buClr>
              <a:defRPr b="0" i="0">
                <a:solidFill>
                  <a:schemeClr val="tx1"/>
                </a:solidFill>
                <a:latin typeface="Arial" panose="020B0604020202020204" pitchFamily="34" charset="0"/>
                <a:cs typeface="Arial" panose="020B0604020202020204" pitchFamily="34" charset="0"/>
              </a:defRPr>
            </a:lvl2pPr>
            <a:lvl3pPr>
              <a:buClr>
                <a:schemeClr val="tx2"/>
              </a:buClr>
              <a:defRPr b="0" i="0">
                <a:solidFill>
                  <a:schemeClr val="tx1"/>
                </a:solidFill>
                <a:latin typeface="Arial" panose="020B0604020202020204" pitchFamily="34" charset="0"/>
                <a:cs typeface="Arial" panose="020B0604020202020204" pitchFamily="34" charset="0"/>
              </a:defRPr>
            </a:lvl3pPr>
            <a:lvl4pPr>
              <a:buClr>
                <a:schemeClr val="tx2"/>
              </a:buClr>
              <a:defRPr b="0" i="0">
                <a:solidFill>
                  <a:schemeClr val="tx1"/>
                </a:solidFill>
                <a:latin typeface="Arial" panose="020B0604020202020204" pitchFamily="34" charset="0"/>
                <a:cs typeface="Arial" panose="020B0604020202020204" pitchFamily="34" charset="0"/>
              </a:defRPr>
            </a:lvl4pPr>
            <a:lvl5pPr>
              <a:buClr>
                <a:schemeClr val="tx2"/>
              </a:buClr>
              <a:defRPr b="0" i="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4996070" y="1470990"/>
            <a:ext cx="6357730" cy="4212485"/>
          </a:xfrm>
          <a:prstGeom prst="rect">
            <a:avLst/>
          </a:prstGeo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1892"/>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older 2">
            <a:extLst>
              <a:ext uri="{FF2B5EF4-FFF2-40B4-BE49-F238E27FC236}">
                <a16:creationId xmlns:a16="http://schemas.microsoft.com/office/drawing/2014/main" id="{997E9E8F-2FF5-81C1-BC47-7B55EEFD011B}"/>
              </a:ext>
            </a:extLst>
          </p:cNvPr>
          <p:cNvSpPr>
            <a:spLocks noGrp="1"/>
          </p:cNvSpPr>
          <p:nvPr>
            <p:ph type="title"/>
          </p:nvPr>
        </p:nvSpPr>
        <p:spPr>
          <a:xfrm>
            <a:off x="822960" y="406325"/>
            <a:ext cx="10560941" cy="553998"/>
          </a:xfrm>
          <a:prstGeom prst="rect">
            <a:avLst/>
          </a:prstGeom>
        </p:spPr>
        <p:txBody>
          <a:bodyPr wrap="square" lIns="91440" tIns="0" rIns="91440" bIns="0" anchor="b" anchorCtr="0">
            <a:spAutoFit/>
          </a:bodyPr>
          <a:lstStyle>
            <a:lvl1pPr algn="ctr">
              <a:defRPr sz="3600" b="0" i="0">
                <a:solidFill>
                  <a:schemeClr val="bg1"/>
                </a:solidFill>
                <a:latin typeface="Figtree" pitchFamily="2" charset="0"/>
                <a:cs typeface="Figtree" pitchFamily="2" charset="0"/>
              </a:defRPr>
            </a:lvl1pPr>
          </a:lstStyle>
          <a:p>
            <a:r>
              <a:rPr lang="en-US" dirty="0"/>
              <a:t>Click to edit Master title style</a:t>
            </a:r>
            <a:endParaRPr dirty="0"/>
          </a:p>
        </p:txBody>
      </p:sp>
    </p:spTree>
    <p:extLst>
      <p:ext uri="{BB962C8B-B14F-4D97-AF65-F5344CB8AC3E}">
        <p14:creationId xmlns:p14="http://schemas.microsoft.com/office/powerpoint/2010/main" val="668246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lumns_Grey Call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3BA9B-C71A-101D-7314-15CCC468BC76}"/>
              </a:ext>
            </a:extLst>
          </p:cNvPr>
          <p:cNvSpPr/>
          <p:nvPr userDrawn="1"/>
        </p:nvSpPr>
        <p:spPr>
          <a:xfrm>
            <a:off x="0" y="1332138"/>
            <a:ext cx="6019800" cy="435133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2"/>
              </a:solidFill>
            </a:endParaRPr>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marL="342900" indent="-342900">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1pPr>
            <a:lvl2pPr marL="746333" indent="-342900">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2pPr>
            <a:lvl3pPr marL="1092617" indent="-285750">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3pPr>
            <a:lvl4pPr marL="1496050" indent="-285750">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4pPr>
            <a:lvl5pPr marL="1899483" indent="-285750">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tx2"/>
                </a:solidFill>
                <a:latin typeface="Figtree" pitchFamily="2" charset="0"/>
                <a:cs typeface="Figtree" pitchFamily="2" charset="0"/>
              </a:defRPr>
            </a:lvl1pPr>
          </a:lstStyle>
          <a:p>
            <a:r>
              <a:rPr lang="en-US" dirty="0"/>
              <a:t>Click to edit Master title style</a:t>
            </a:r>
            <a:endParaRPr dirty="0"/>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317340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lvl1pPr>
              <a:defRPr sz="800"/>
            </a:lvl1pPr>
          </a:lstStyle>
          <a:p>
            <a:endParaRPr lang="en-US" dirty="0"/>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lvl1pPr>
              <a:defRPr sz="800"/>
            </a:lvl1pPr>
          </a:lstStyle>
          <a:p>
            <a:fld id="{02B5F485-982A-41B4-B657-C5770F0E9220}" type="slidenum">
              <a:rPr lang="en-US" smtClean="0"/>
              <a:pPr/>
              <a:t>‹#›</a:t>
            </a:fld>
            <a:endParaRPr lang="en-US" dirty="0"/>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a:xfrm>
            <a:off x="7217563" y="6525906"/>
            <a:ext cx="1799771" cy="123111"/>
          </a:xfrm>
        </p:spPr>
        <p:txBody>
          <a:bodyPr/>
          <a:lstStyle>
            <a:lvl1pPr>
              <a:defRPr sz="800"/>
            </a:lvl1pPr>
          </a:lstStyle>
          <a:p>
            <a:endParaRPr lang="en-US" dirty="0"/>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6698" y="1789111"/>
            <a:ext cx="3328988" cy="3965575"/>
          </a:xfr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789110"/>
            <a:ext cx="3328988" cy="39655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789109"/>
            <a:ext cx="3328988" cy="39655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9585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ESC Explainer Deck 2024 3 Col">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591205" y="1356763"/>
            <a:ext cx="3328988" cy="3965575"/>
          </a:xfr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176013" y="1356762"/>
            <a:ext cx="3328988" cy="39655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7769319" y="1356761"/>
            <a:ext cx="3328988" cy="39655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Holder 2">
            <a:extLst>
              <a:ext uri="{FF2B5EF4-FFF2-40B4-BE49-F238E27FC236}">
                <a16:creationId xmlns:a16="http://schemas.microsoft.com/office/drawing/2014/main" id="{58C6EAD1-BDE4-33B7-8C9D-1044E51D05FB}"/>
              </a:ext>
            </a:extLst>
          </p:cNvPr>
          <p:cNvSpPr>
            <a:spLocks noGrp="1"/>
          </p:cNvSpPr>
          <p:nvPr>
            <p:ph type="title"/>
          </p:nvPr>
        </p:nvSpPr>
        <p:spPr>
          <a:xfrm>
            <a:off x="385184" y="297515"/>
            <a:ext cx="10866964" cy="461665"/>
          </a:xfrm>
          <a:prstGeom prst="rect">
            <a:avLst/>
          </a:prstGeom>
        </p:spPr>
        <p:txBody>
          <a:bodyPr wrap="square" lIns="91440" tIns="0" rIns="91440" bIns="0" anchor="t" anchorCtr="0">
            <a:spAutoFit/>
          </a:bodyPr>
          <a:lstStyle>
            <a:lvl1pPr algn="l">
              <a:defRPr sz="3000" b="1" i="0">
                <a:solidFill>
                  <a:schemeClr val="tx2"/>
                </a:solidFill>
                <a:latin typeface="Figtree" pitchFamily="2" charset="0"/>
                <a:cs typeface="Figtree" pitchFamily="2" charset="0"/>
              </a:defRPr>
            </a:lvl1pPr>
          </a:lstStyle>
          <a:p>
            <a:r>
              <a:rPr lang="en-US" dirty="0"/>
              <a:t>Click to edit Master title style</a:t>
            </a:r>
          </a:p>
        </p:txBody>
      </p:sp>
      <p:sp>
        <p:nvSpPr>
          <p:cNvPr id="18" name="Footer Placeholder 4">
            <a:extLst>
              <a:ext uri="{FF2B5EF4-FFF2-40B4-BE49-F238E27FC236}">
                <a16:creationId xmlns:a16="http://schemas.microsoft.com/office/drawing/2014/main" id="{4BFB9956-0A47-B628-0E9F-C32ECD31C619}"/>
              </a:ext>
            </a:extLst>
          </p:cNvPr>
          <p:cNvSpPr>
            <a:spLocks noGrp="1"/>
          </p:cNvSpPr>
          <p:nvPr>
            <p:ph type="ftr" sz="quarter" idx="3"/>
          </p:nvPr>
        </p:nvSpPr>
        <p:spPr>
          <a:xfrm>
            <a:off x="385184" y="64975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20" name="Holder 5">
            <a:extLst>
              <a:ext uri="{FF2B5EF4-FFF2-40B4-BE49-F238E27FC236}">
                <a16:creationId xmlns:a16="http://schemas.microsoft.com/office/drawing/2014/main" id="{60F5E727-2474-0156-BAEC-CB59275DADE1}"/>
              </a:ext>
            </a:extLst>
          </p:cNvPr>
          <p:cNvSpPr>
            <a:spLocks noGrp="1"/>
          </p:cNvSpPr>
          <p:nvPr>
            <p:ph type="dt" sz="half" idx="10"/>
          </p:nvPr>
        </p:nvSpPr>
        <p:spPr>
          <a:xfrm>
            <a:off x="6757385" y="64975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2" name="Rectangle 1">
            <a:extLst>
              <a:ext uri="{FF2B5EF4-FFF2-40B4-BE49-F238E27FC236}">
                <a16:creationId xmlns:a16="http://schemas.microsoft.com/office/drawing/2014/main" id="{326184D8-6EEE-1419-284E-94FE7AB033C1}"/>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8A0BFF1-346C-E7B8-92F0-78AFDA309FE8}"/>
              </a:ext>
            </a:extLst>
          </p:cNvPr>
          <p:cNvSpPr>
            <a:spLocks/>
          </p:cNvSpPr>
          <p:nvPr userDrawn="1"/>
        </p:nvSpPr>
        <p:spPr>
          <a:xfrm>
            <a:off x="12044034" y="6321357"/>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1BB03F3C-F4D2-D53C-326C-03803C80B5BE}"/>
              </a:ext>
            </a:extLst>
          </p:cNvPr>
          <p:cNvGrpSpPr/>
          <p:nvPr userDrawn="1"/>
        </p:nvGrpSpPr>
        <p:grpSpPr>
          <a:xfrm>
            <a:off x="8740673" y="6320527"/>
            <a:ext cx="520560" cy="480764"/>
            <a:chOff x="8740673" y="6320527"/>
            <a:chExt cx="520560" cy="480764"/>
          </a:xfrm>
        </p:grpSpPr>
        <p:sp>
          <p:nvSpPr>
            <p:cNvPr id="8" name="Rectangle 5">
              <a:extLst>
                <a:ext uri="{FF2B5EF4-FFF2-40B4-BE49-F238E27FC236}">
                  <a16:creationId xmlns:a16="http://schemas.microsoft.com/office/drawing/2014/main" id="{FBBAEC2D-987E-03C6-1D45-2FBCADEEE087}"/>
                </a:ext>
              </a:extLst>
            </p:cNvPr>
            <p:cNvSpPr>
              <a:spLocks/>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5">
              <a:extLst>
                <a:ext uri="{FF2B5EF4-FFF2-40B4-BE49-F238E27FC236}">
                  <a16:creationId xmlns:a16="http://schemas.microsoft.com/office/drawing/2014/main" id="{85D0F964-2F64-DD1B-DE06-E40DD4BDFEDF}"/>
                </a:ext>
              </a:extLst>
            </p:cNvPr>
            <p:cNvSpPr>
              <a:spLocks/>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5">
              <a:extLst>
                <a:ext uri="{FF2B5EF4-FFF2-40B4-BE49-F238E27FC236}">
                  <a16:creationId xmlns:a16="http://schemas.microsoft.com/office/drawing/2014/main" id="{6AA266B0-1817-5FBD-7052-DCBBC8C51BCF}"/>
                </a:ext>
              </a:extLst>
            </p:cNvPr>
            <p:cNvSpPr>
              <a:spLocks/>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6ABB4BE6-EE4A-0B2B-BCCF-55518A7E4E9A}"/>
                </a:ext>
              </a:extLst>
            </p:cNvPr>
            <p:cNvSpPr>
              <a:spLocks/>
            </p:cNvSpPr>
            <p:nvPr userDrawn="1"/>
          </p:nvSpPr>
          <p:spPr>
            <a:xfrm rot="10800000" flipH="1">
              <a:off x="8773100" y="6321351"/>
              <a:ext cx="488133" cy="479940"/>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473571">
                  <a:moveTo>
                    <a:pt x="0" y="6590"/>
                  </a:moveTo>
                  <a:lnTo>
                    <a:pt x="488133" y="0"/>
                  </a:lnTo>
                  <a:lnTo>
                    <a:pt x="488133" y="473571"/>
                  </a:lnTo>
                  <a:lnTo>
                    <a:pt x="236135" y="473571"/>
                  </a:lnTo>
                  <a:lnTo>
                    <a:pt x="0" y="659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Slide Number Placeholder 5">
            <a:extLst>
              <a:ext uri="{FF2B5EF4-FFF2-40B4-BE49-F238E27FC236}">
                <a16:creationId xmlns:a16="http://schemas.microsoft.com/office/drawing/2014/main" id="{A6279066-37E6-7CEA-8EA4-254BF8F11123}"/>
              </a:ext>
            </a:extLst>
          </p:cNvPr>
          <p:cNvSpPr>
            <a:spLocks noGrp="1"/>
          </p:cNvSpPr>
          <p:nvPr>
            <p:ph type="sldNum" sz="quarter" idx="4"/>
          </p:nvPr>
        </p:nvSpPr>
        <p:spPr>
          <a:xfrm>
            <a:off x="8747733" y="6503186"/>
            <a:ext cx="508000" cy="153888"/>
          </a:xfrm>
          <a:prstGeom prst="rect">
            <a:avLst/>
          </a:prstGeom>
        </p:spPr>
        <p:txBody>
          <a:bodyPr anchor="ctr"/>
          <a:lstStyle>
            <a:lvl1pPr algn="r">
              <a:defRPr sz="1000" b="1" i="0">
                <a:solidFill>
                  <a:schemeClr val="bg1"/>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Tree>
    <p:extLst>
      <p:ext uri="{BB962C8B-B14F-4D97-AF65-F5344CB8AC3E}">
        <p14:creationId xmlns:p14="http://schemas.microsoft.com/office/powerpoint/2010/main" val="36590217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MESC Explainer Deck 2024 3 Col">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591205" y="1356763"/>
            <a:ext cx="3328988" cy="39655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176013" y="1356762"/>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7769319" y="1356761"/>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Holder 2">
            <a:extLst>
              <a:ext uri="{FF2B5EF4-FFF2-40B4-BE49-F238E27FC236}">
                <a16:creationId xmlns:a16="http://schemas.microsoft.com/office/drawing/2014/main" id="{58C6EAD1-BDE4-33B7-8C9D-1044E51D05FB}"/>
              </a:ext>
            </a:extLst>
          </p:cNvPr>
          <p:cNvSpPr>
            <a:spLocks noGrp="1"/>
          </p:cNvSpPr>
          <p:nvPr>
            <p:ph type="title"/>
          </p:nvPr>
        </p:nvSpPr>
        <p:spPr>
          <a:xfrm>
            <a:off x="385184" y="284452"/>
            <a:ext cx="10866964" cy="461665"/>
          </a:xfrm>
          <a:prstGeom prst="rect">
            <a:avLst/>
          </a:prstGeom>
        </p:spPr>
        <p:txBody>
          <a:bodyPr wrap="square" lIns="91440" tIns="0" rIns="91440" bIns="0" anchor="t" anchorCtr="0">
            <a:spAutoFit/>
          </a:bodyPr>
          <a:lstStyle>
            <a:lvl1pPr algn="l">
              <a:defRPr sz="3000" b="1" i="0">
                <a:solidFill>
                  <a:schemeClr val="tx2"/>
                </a:solidFill>
                <a:latin typeface="Avenir Heavy" panose="02000503020000020003" pitchFamily="2" charset="0"/>
                <a:cs typeface="Avenir Heavy" panose="02000503020000020003" pitchFamily="2" charset="0"/>
              </a:defRPr>
            </a:lvl1pPr>
          </a:lstStyle>
          <a:p>
            <a:r>
              <a:rPr lang="en-US" dirty="0"/>
              <a:t>Click to edit Master title style</a:t>
            </a:r>
          </a:p>
        </p:txBody>
      </p:sp>
      <p:sp>
        <p:nvSpPr>
          <p:cNvPr id="7" name="Footer Placeholder 4">
            <a:extLst>
              <a:ext uri="{FF2B5EF4-FFF2-40B4-BE49-F238E27FC236}">
                <a16:creationId xmlns:a16="http://schemas.microsoft.com/office/drawing/2014/main" id="{EC7A0D14-38BC-141B-36DF-55015EAC271A}"/>
              </a:ext>
            </a:extLst>
          </p:cNvPr>
          <p:cNvSpPr>
            <a:spLocks noGrp="1"/>
          </p:cNvSpPr>
          <p:nvPr>
            <p:ph type="ftr" sz="quarter" idx="3"/>
          </p:nvPr>
        </p:nvSpPr>
        <p:spPr>
          <a:xfrm>
            <a:off x="2807861" y="6575526"/>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9" name="Holder 5">
            <a:extLst>
              <a:ext uri="{FF2B5EF4-FFF2-40B4-BE49-F238E27FC236}">
                <a16:creationId xmlns:a16="http://schemas.microsoft.com/office/drawing/2014/main" id="{39DD2F28-2204-CA96-45B5-6F271130BB5B}"/>
              </a:ext>
            </a:extLst>
          </p:cNvPr>
          <p:cNvSpPr>
            <a:spLocks noGrp="1"/>
          </p:cNvSpPr>
          <p:nvPr>
            <p:ph type="dt" sz="half" idx="10"/>
          </p:nvPr>
        </p:nvSpPr>
        <p:spPr>
          <a:xfrm>
            <a:off x="9180062" y="6575525"/>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2" name="Rectangle 1">
            <a:extLst>
              <a:ext uri="{FF2B5EF4-FFF2-40B4-BE49-F238E27FC236}">
                <a16:creationId xmlns:a16="http://schemas.microsoft.com/office/drawing/2014/main" id="{7B2BF58B-7C99-D595-B237-C7947002D085}"/>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D3DE965E-3DA8-07FD-0238-4933B95B1221}"/>
              </a:ext>
            </a:extLst>
          </p:cNvPr>
          <p:cNvGrpSpPr>
            <a:grpSpLocks noGrp="1" noUngrp="1" noRot="1" noMove="1" noResize="1"/>
          </p:cNvGrpSpPr>
          <p:nvPr userDrawn="1"/>
        </p:nvGrpSpPr>
        <p:grpSpPr>
          <a:xfrm>
            <a:off x="11609262" y="6323328"/>
            <a:ext cx="606670" cy="476662"/>
            <a:chOff x="8740673" y="6320527"/>
            <a:chExt cx="606670" cy="476662"/>
          </a:xfrm>
        </p:grpSpPr>
        <p:sp>
          <p:nvSpPr>
            <p:cNvPr id="8" name="Rectangle 5">
              <a:extLst>
                <a:ext uri="{FF2B5EF4-FFF2-40B4-BE49-F238E27FC236}">
                  <a16:creationId xmlns:a16="http://schemas.microsoft.com/office/drawing/2014/main" id="{D8880188-413C-5141-F9E4-0F176E8E492B}"/>
                </a:ext>
              </a:extLst>
            </p:cNvPr>
            <p:cNvSpPr>
              <a:spLocks noGrp="1" noRot="1" noMove="1" noResize="1" noEditPoints="1" noAdjustHandles="1" noChangeArrowheads="1" noChangeShapeType="1"/>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5">
              <a:extLst>
                <a:ext uri="{FF2B5EF4-FFF2-40B4-BE49-F238E27FC236}">
                  <a16:creationId xmlns:a16="http://schemas.microsoft.com/office/drawing/2014/main" id="{09B5B55D-A154-518D-20A7-D57B95A937FA}"/>
                </a:ext>
              </a:extLst>
            </p:cNvPr>
            <p:cNvSpPr>
              <a:spLocks noGrp="1" noRot="1" noMove="1" noResize="1" noEditPoints="1" noAdjustHandles="1" noChangeArrowheads="1" noChangeShapeType="1"/>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5">
              <a:extLst>
                <a:ext uri="{FF2B5EF4-FFF2-40B4-BE49-F238E27FC236}">
                  <a16:creationId xmlns:a16="http://schemas.microsoft.com/office/drawing/2014/main" id="{8B805E58-ED6A-57E3-C0CF-2CD54F678E65}"/>
                </a:ext>
              </a:extLst>
            </p:cNvPr>
            <p:cNvSpPr>
              <a:spLocks noGrp="1" noRot="1" noMove="1" noResize="1" noEditPoints="1" noAdjustHandles="1" noChangeArrowheads="1" noChangeShapeType="1"/>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6">
              <a:extLst>
                <a:ext uri="{FF2B5EF4-FFF2-40B4-BE49-F238E27FC236}">
                  <a16:creationId xmlns:a16="http://schemas.microsoft.com/office/drawing/2014/main" id="{95B9342E-FB74-94E3-01F2-7D9F988EA7B1}"/>
                </a:ext>
              </a:extLst>
            </p:cNvPr>
            <p:cNvSpPr>
              <a:spLocks noGrp="1" noRot="1" noMove="1" noResize="1" noEditPoints="1" noAdjustHandles="1" noChangeArrowheads="1" noChangeShapeType="1"/>
            </p:cNvSpPr>
            <p:nvPr userDrawn="1"/>
          </p:nvSpPr>
          <p:spPr>
            <a:xfrm rot="10800000" flipH="1">
              <a:off x="8773101" y="6321351"/>
              <a:ext cx="574242" cy="475838"/>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 name="connsiteX0" fmla="*/ 0 w 574242"/>
                <a:gd name="connsiteY0" fmla="*/ 6590 h 473571"/>
                <a:gd name="connsiteX1" fmla="*/ 488133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6590 h 473571"/>
                <a:gd name="connsiteX1" fmla="*/ 574242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0 h 466981"/>
                <a:gd name="connsiteX1" fmla="*/ 574242 w 574242"/>
                <a:gd name="connsiteY1" fmla="*/ 5549 h 466981"/>
                <a:gd name="connsiteX2" fmla="*/ 574242 w 574242"/>
                <a:gd name="connsiteY2" fmla="*/ 462935 h 466981"/>
                <a:gd name="connsiteX3" fmla="*/ 236135 w 574242"/>
                <a:gd name="connsiteY3" fmla="*/ 466981 h 466981"/>
                <a:gd name="connsiteX4" fmla="*/ 0 w 574242"/>
                <a:gd name="connsiteY4" fmla="*/ 0 h 466981"/>
                <a:gd name="connsiteX0" fmla="*/ 0 w 574242"/>
                <a:gd name="connsiteY0" fmla="*/ 2543 h 469524"/>
                <a:gd name="connsiteX1" fmla="*/ 574242 w 574242"/>
                <a:gd name="connsiteY1" fmla="*/ 0 h 469524"/>
                <a:gd name="connsiteX2" fmla="*/ 574242 w 574242"/>
                <a:gd name="connsiteY2" fmla="*/ 465478 h 469524"/>
                <a:gd name="connsiteX3" fmla="*/ 236135 w 574242"/>
                <a:gd name="connsiteY3" fmla="*/ 469524 h 469524"/>
                <a:gd name="connsiteX4" fmla="*/ 0 w 574242"/>
                <a:gd name="connsiteY4" fmla="*/ 2543 h 46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242" h="469524">
                  <a:moveTo>
                    <a:pt x="0" y="2543"/>
                  </a:moveTo>
                  <a:lnTo>
                    <a:pt x="574242" y="0"/>
                  </a:lnTo>
                  <a:lnTo>
                    <a:pt x="574242" y="465478"/>
                  </a:lnTo>
                  <a:lnTo>
                    <a:pt x="236135" y="469524"/>
                  </a:lnTo>
                  <a:lnTo>
                    <a:pt x="0" y="2543"/>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846F129E-C5C5-7FB4-73D3-7FB01490A619}"/>
              </a:ext>
            </a:extLst>
          </p:cNvPr>
          <p:cNvSpPr>
            <a:spLocks noGrp="1" noRot="1" noMove="1" noResize="1" noEditPoints="1" noAdjustHandles="1" noChangeArrowheads="1" noChangeShapeType="1"/>
          </p:cNvSpPr>
          <p:nvPr userDrawn="1"/>
        </p:nvSpPr>
        <p:spPr>
          <a:xfrm>
            <a:off x="1" y="6321378"/>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lide Number Placeholder 5">
            <a:extLst>
              <a:ext uri="{FF2B5EF4-FFF2-40B4-BE49-F238E27FC236}">
                <a16:creationId xmlns:a16="http://schemas.microsoft.com/office/drawing/2014/main" id="{CC87667A-3A50-2C46-49FA-41998CD8CDBF}"/>
              </a:ext>
            </a:extLst>
          </p:cNvPr>
          <p:cNvSpPr txBox="1">
            <a:spLocks/>
          </p:cNvSpPr>
          <p:nvPr userDrawn="1"/>
        </p:nvSpPr>
        <p:spPr>
          <a:xfrm>
            <a:off x="11618406" y="6515794"/>
            <a:ext cx="508000" cy="153888"/>
          </a:xfrm>
          <a:prstGeom prst="rect">
            <a:avLst/>
          </a:prstGeom>
        </p:spPr>
        <p:txBody>
          <a:bodyPr anchor="ctr"/>
          <a:lstStyle>
            <a:defPPr>
              <a:defRPr lang="en-US"/>
            </a:defPPr>
            <a:lvl1pPr marL="0" algn="r" defTabSz="914400" rtl="0" eaLnBrk="1" latinLnBrk="0" hangingPunct="1">
              <a:defRPr sz="1000" b="1" i="0" kern="1200">
                <a:solidFill>
                  <a:schemeClr val="accent5"/>
                </a:solidFill>
                <a:latin typeface="Avenir Black" panose="02000503020000020003" pitchFamily="2"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B5F485-982A-41B4-B657-C5770F0E9220}"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84CBF39B-6417-36B3-0F37-3E50E235E439}"/>
              </a:ext>
              <a:ext uri="{C183D7F6-B498-43B3-948B-1728B52AA6E4}">
                <adec:decorative xmlns:adec="http://schemas.microsoft.com/office/drawing/2017/decorative" val="1"/>
              </a:ext>
            </a:extLst>
          </p:cNvPr>
          <p:cNvPicPr>
            <a:picLocks noGrp="1" noRo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234921" y="6373266"/>
            <a:ext cx="2563796" cy="369792"/>
          </a:xfrm>
          <a:prstGeom prst="rect">
            <a:avLst/>
          </a:prstGeom>
        </p:spPr>
      </p:pic>
    </p:spTree>
    <p:extLst>
      <p:ext uri="{BB962C8B-B14F-4D97-AF65-F5344CB8AC3E}">
        <p14:creationId xmlns:p14="http://schemas.microsoft.com/office/powerpoint/2010/main" val="2366186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3_PosterMural">
    <p:spTree>
      <p:nvGrpSpPr>
        <p:cNvPr id="1" name=""/>
        <p:cNvGrpSpPr/>
        <p:nvPr/>
      </p:nvGrpSpPr>
      <p:grpSpPr>
        <a:xfrm>
          <a:off x="0" y="0"/>
          <a:ext cx="0" cy="0"/>
          <a:chOff x="0" y="0"/>
          <a:chExt cx="0" cy="0"/>
        </a:xfrm>
      </p:grpSpPr>
      <p:pic>
        <p:nvPicPr>
          <p:cNvPr id="3" name="Picture 2" descr="A collage of images of energy&#10;&#10;Description automatically generated">
            <a:extLst>
              <a:ext uri="{FF2B5EF4-FFF2-40B4-BE49-F238E27FC236}">
                <a16:creationId xmlns:a16="http://schemas.microsoft.com/office/drawing/2014/main" id="{88AC04DC-FBCA-F19A-E839-6A21F85D0F5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 y="2997200"/>
            <a:ext cx="12192001" cy="3860800"/>
          </a:xfrm>
          <a:prstGeom prst="rect">
            <a:avLst/>
          </a:prstGeom>
        </p:spPr>
      </p:pic>
      <p:sp>
        <p:nvSpPr>
          <p:cNvPr id="19" name="Subtitle 2"/>
          <p:cNvSpPr>
            <a:spLocks noGrp="1"/>
          </p:cNvSpPr>
          <p:nvPr>
            <p:ph type="subTitle" idx="1" hasCustomPrompt="1"/>
          </p:nvPr>
        </p:nvSpPr>
        <p:spPr>
          <a:xfrm>
            <a:off x="5041801" y="281478"/>
            <a:ext cx="6837680" cy="2591738"/>
          </a:xfrm>
          <a:prstGeom prst="rect">
            <a:avLst/>
          </a:prstGeom>
        </p:spPr>
        <p:txBody>
          <a:bodyPr>
            <a:normAutofit/>
          </a:bodyPr>
          <a:lstStyle>
            <a:lvl1pPr marL="0" indent="0" algn="l">
              <a:buNone/>
              <a:defRPr sz="4400" b="1" i="0" baseline="0">
                <a:solidFill>
                  <a:schemeClr val="tx2"/>
                </a:solidFill>
                <a:latin typeface="Figtree"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a:t>
            </a:r>
            <a:br>
              <a:rPr lang="en-US" dirty="0"/>
            </a:br>
            <a:r>
              <a:rPr lang="en-US" dirty="0"/>
              <a:t>Master title style</a:t>
            </a:r>
          </a:p>
        </p:txBody>
      </p:sp>
      <p:sp>
        <p:nvSpPr>
          <p:cNvPr id="20" name="Text Placeholder 17"/>
          <p:cNvSpPr>
            <a:spLocks noGrp="1"/>
          </p:cNvSpPr>
          <p:nvPr>
            <p:ph type="body" sz="quarter" idx="10" hasCustomPrompt="1"/>
          </p:nvPr>
        </p:nvSpPr>
        <p:spPr>
          <a:xfrm>
            <a:off x="417332" y="1032467"/>
            <a:ext cx="3119733" cy="604407"/>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Figtree" pitchFamily="2" charset="0"/>
                <a:cs typeface="Arial"/>
              </a:defRPr>
            </a:lvl1pPr>
          </a:lstStyle>
          <a:p>
            <a:pPr lvl="0"/>
            <a:r>
              <a:rPr lang="en-US" noProof="0" dirty="0"/>
              <a:t>Click to edit master text styles</a:t>
            </a:r>
          </a:p>
        </p:txBody>
      </p:sp>
      <p:sp>
        <p:nvSpPr>
          <p:cNvPr id="22" name="Text Placeholder 18"/>
          <p:cNvSpPr>
            <a:spLocks noGrp="1"/>
          </p:cNvSpPr>
          <p:nvPr>
            <p:ph type="body" sz="quarter" idx="13" hasCustomPrompt="1"/>
          </p:nvPr>
        </p:nvSpPr>
        <p:spPr>
          <a:xfrm>
            <a:off x="417331" y="1774017"/>
            <a:ext cx="3119733" cy="526944"/>
          </a:xfrm>
          <a:prstGeom prst="rect">
            <a:avLst/>
          </a:prstGeom>
        </p:spPr>
        <p:txBody>
          <a:bodyPr>
            <a:normAutofit/>
          </a:bodyPr>
          <a:lstStyle>
            <a:lvl1pPr>
              <a:buNone/>
              <a:defRPr sz="1200">
                <a:solidFill>
                  <a:schemeClr val="tx2"/>
                </a:solidFill>
                <a:latin typeface="Figtree" pitchFamily="2" charset="0"/>
                <a:cs typeface="Calibri" panose="020F0502020204030204" pitchFamily="34" charset="0"/>
              </a:defRPr>
            </a:lvl1pPr>
            <a:lvl5pPr>
              <a:defRPr/>
            </a:lvl5pPr>
          </a:lstStyle>
          <a:p>
            <a:pPr lvl="0"/>
            <a:r>
              <a:rPr lang="en-US" dirty="0"/>
              <a:t>Click to edit master text styles</a:t>
            </a:r>
          </a:p>
        </p:txBody>
      </p:sp>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12519" y="198222"/>
            <a:ext cx="4287614" cy="618429"/>
          </a:xfrm>
          <a:prstGeom prst="rect">
            <a:avLst/>
          </a:prstGeom>
        </p:spPr>
      </p:pic>
      <p:sp>
        <p:nvSpPr>
          <p:cNvPr id="2" name="Rectangle 1">
            <a:extLst>
              <a:ext uri="{FF2B5EF4-FFF2-40B4-BE49-F238E27FC236}">
                <a16:creationId xmlns:a16="http://schemas.microsoft.com/office/drawing/2014/main" id="{D8AD6CCF-DDBD-641E-B43A-57196DB63C76}"/>
              </a:ext>
            </a:extLst>
          </p:cNvPr>
          <p:cNvSpPr/>
          <p:nvPr userDrawn="1"/>
        </p:nvSpPr>
        <p:spPr>
          <a:xfrm>
            <a:off x="2936630" y="299720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FB6212B-ADDF-87E7-09A3-D5B3C21C8719}"/>
              </a:ext>
            </a:extLst>
          </p:cNvPr>
          <p:cNvSpPr/>
          <p:nvPr userDrawn="1"/>
        </p:nvSpPr>
        <p:spPr>
          <a:xfrm>
            <a:off x="6049106" y="299720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573ECAC-0960-AFC5-82CD-93A2AF58AE6D}"/>
              </a:ext>
            </a:extLst>
          </p:cNvPr>
          <p:cNvSpPr/>
          <p:nvPr userDrawn="1"/>
        </p:nvSpPr>
        <p:spPr>
          <a:xfrm>
            <a:off x="9161583" y="2997200"/>
            <a:ext cx="91440" cy="38607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75941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Three Columns with Divi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lvl1pPr>
              <a:defRPr sz="800"/>
            </a:lvl1pPr>
          </a:lstStyle>
          <a:p>
            <a:endParaRPr lang="en-US" dirty="0"/>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lvl1pPr>
              <a:defRPr sz="800"/>
            </a:lvl1pPr>
          </a:lstStyle>
          <a:p>
            <a:fld id="{02B5F485-982A-41B4-B657-C5770F0E9220}" type="slidenum">
              <a:rPr lang="en-US" smtClean="0"/>
              <a:pPr/>
              <a:t>‹#›</a:t>
            </a:fld>
            <a:endParaRPr lang="en-US" dirty="0"/>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a:xfrm>
            <a:off x="7217563" y="6525906"/>
            <a:ext cx="1799771" cy="123111"/>
          </a:xfrm>
        </p:spPr>
        <p:txBody>
          <a:bodyPr/>
          <a:lstStyle>
            <a:lvl1pPr>
              <a:defRPr sz="800"/>
            </a:lvl1pPr>
          </a:lstStyle>
          <a:p>
            <a:endParaRPr lang="en-US" dirty="0"/>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5362" y="1504709"/>
            <a:ext cx="3328988" cy="4249975"/>
          </a:xfr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504710"/>
            <a:ext cx="3328988" cy="42499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504709"/>
            <a:ext cx="3328988" cy="4249975"/>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C2654E4D-710D-7172-6067-ACFE460508F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64FF63B-C383-2D30-1609-187E01DCB959}"/>
              </a:ext>
            </a:extLst>
          </p:cNvPr>
          <p:cNvCxnSpPr>
            <a:cxnSpLocks/>
          </p:cNvCxnSpPr>
          <p:nvPr userDrawn="1"/>
        </p:nvCxnSpPr>
        <p:spPr>
          <a:xfrm>
            <a:off x="4294208"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189A3D-9C54-3C11-67D1-91FFD4EC5A9B}"/>
              </a:ext>
            </a:extLst>
          </p:cNvPr>
          <p:cNvCxnSpPr>
            <a:cxnSpLocks/>
          </p:cNvCxnSpPr>
          <p:nvPr userDrawn="1"/>
        </p:nvCxnSpPr>
        <p:spPr>
          <a:xfrm>
            <a:off x="7907439"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D1E4FA86-3266-85EE-3DD5-92645DB7A6ED}"/>
              </a:ext>
            </a:extLst>
          </p:cNvPr>
          <p:cNvSpPr>
            <a:spLocks noGrp="1"/>
          </p:cNvSpPr>
          <p:nvPr>
            <p:ph type="title"/>
          </p:nvPr>
        </p:nvSpPr>
        <p:spPr>
          <a:xfrm>
            <a:off x="822960" y="406792"/>
            <a:ext cx="10560941" cy="553998"/>
          </a:xfrm>
          <a:prstGeom prst="rect">
            <a:avLst/>
          </a:prstGeom>
        </p:spPr>
        <p:txBody>
          <a:bodyPr wrap="square" lIns="91440" tIns="0" rIns="91440" bIns="0" anchor="b" anchorCtr="0">
            <a:spAutoFit/>
          </a:bodyPr>
          <a:lstStyle>
            <a:lvl1pPr algn="ctr">
              <a:defRPr sz="3600" b="0" i="0">
                <a:solidFill>
                  <a:schemeClr val="bg1"/>
                </a:solidFill>
                <a:latin typeface="Figtree" pitchFamily="2" charset="0"/>
                <a:cs typeface="Figtree" pitchFamily="2" charset="0"/>
              </a:defRPr>
            </a:lvl1pPr>
          </a:lstStyle>
          <a:p>
            <a:r>
              <a:rPr lang="en-US" dirty="0"/>
              <a:t>Click to edit Master title style</a:t>
            </a:r>
            <a:endParaRPr dirty="0"/>
          </a:p>
        </p:txBody>
      </p:sp>
    </p:spTree>
    <p:extLst>
      <p:ext uri="{BB962C8B-B14F-4D97-AF65-F5344CB8AC3E}">
        <p14:creationId xmlns:p14="http://schemas.microsoft.com/office/powerpoint/2010/main" val="28809283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dirty="0"/>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lvl1pPr>
              <a:defRPr sz="800"/>
            </a:lvl1pPr>
          </a:lstStyle>
          <a:p>
            <a:endParaRPr lang="en-US" dirty="0"/>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lvl1pPr>
              <a:defRPr sz="800"/>
            </a:lvl1pPr>
          </a:lstStyle>
          <a:p>
            <a:fld id="{02B5F485-982A-41B4-B657-C5770F0E9220}" type="slidenum">
              <a:rPr lang="en-US" smtClean="0"/>
              <a:pPr/>
              <a:t>‹#›</a:t>
            </a:fld>
            <a:endParaRPr lang="en-US" dirty="0"/>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a:xfrm>
            <a:off x="7217563" y="6525906"/>
            <a:ext cx="1799771" cy="123111"/>
          </a:xfrm>
        </p:spPr>
        <p:txBody>
          <a:bodyPr/>
          <a:lstStyle>
            <a:lvl1pPr>
              <a:defRPr sz="800"/>
            </a:lvl1pPr>
          </a:lstStyle>
          <a:p>
            <a:endParaRPr lang="en-US" dirty="0"/>
          </a:p>
        </p:txBody>
      </p:sp>
      <p:sp>
        <p:nvSpPr>
          <p:cNvPr id="16" name="Content Placeholder 15">
            <a:extLst>
              <a:ext uri="{FF2B5EF4-FFF2-40B4-BE49-F238E27FC236}">
                <a16:creationId xmlns:a16="http://schemas.microsoft.com/office/drawing/2014/main" id="{DC9F83AB-9D50-77B1-AB13-5795BF9AACFE}"/>
              </a:ext>
            </a:extLst>
          </p:cNvPr>
          <p:cNvSpPr>
            <a:spLocks noGrp="1"/>
          </p:cNvSpPr>
          <p:nvPr>
            <p:ph sz="quarter" idx="17"/>
          </p:nvPr>
        </p:nvSpPr>
        <p:spPr>
          <a:xfrm>
            <a:off x="845362" y="18032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dirty="0"/>
              <a:t>Click to edit Master text styles</a:t>
            </a:r>
          </a:p>
          <a:p>
            <a:pPr lvl="1"/>
            <a:r>
              <a:rPr lang="en-US" dirty="0"/>
              <a:t>Second level</a:t>
            </a:r>
          </a:p>
          <a:p>
            <a:pPr lvl="2"/>
            <a:r>
              <a:rPr lang="en-US" dirty="0"/>
              <a:t>Third level</a:t>
            </a:r>
          </a:p>
        </p:txBody>
      </p:sp>
      <p:sp>
        <p:nvSpPr>
          <p:cNvPr id="17" name="Content Placeholder 15">
            <a:extLst>
              <a:ext uri="{FF2B5EF4-FFF2-40B4-BE49-F238E27FC236}">
                <a16:creationId xmlns:a16="http://schemas.microsoft.com/office/drawing/2014/main" id="{E5267D86-6975-928F-095B-4D0D4F557E04}"/>
              </a:ext>
            </a:extLst>
          </p:cNvPr>
          <p:cNvSpPr>
            <a:spLocks noGrp="1"/>
          </p:cNvSpPr>
          <p:nvPr>
            <p:ph sz="quarter" idx="18"/>
          </p:nvPr>
        </p:nvSpPr>
        <p:spPr>
          <a:xfrm>
            <a:off x="3524718"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dirty="0"/>
              <a:t>Click to edit Master text styles</a:t>
            </a:r>
          </a:p>
          <a:p>
            <a:pPr lvl="1"/>
            <a:r>
              <a:rPr lang="en-US" dirty="0"/>
              <a:t>Second level</a:t>
            </a:r>
          </a:p>
          <a:p>
            <a:pPr lvl="2"/>
            <a:r>
              <a:rPr lang="en-US" dirty="0"/>
              <a:t>Third level</a:t>
            </a:r>
          </a:p>
        </p:txBody>
      </p:sp>
      <p:sp>
        <p:nvSpPr>
          <p:cNvPr id="18" name="Content Placeholder 15">
            <a:extLst>
              <a:ext uri="{FF2B5EF4-FFF2-40B4-BE49-F238E27FC236}">
                <a16:creationId xmlns:a16="http://schemas.microsoft.com/office/drawing/2014/main" id="{E5E1AFF2-0A78-9384-AE9F-6C1637A5DAB7}"/>
              </a:ext>
            </a:extLst>
          </p:cNvPr>
          <p:cNvSpPr>
            <a:spLocks noGrp="1"/>
          </p:cNvSpPr>
          <p:nvPr>
            <p:ph sz="quarter" idx="19"/>
          </p:nvPr>
        </p:nvSpPr>
        <p:spPr>
          <a:xfrm>
            <a:off x="6232058" y="18045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dirty="0"/>
              <a:t>Click to edit Master text styles</a:t>
            </a:r>
          </a:p>
          <a:p>
            <a:pPr lvl="1"/>
            <a:r>
              <a:rPr lang="en-US" dirty="0"/>
              <a:t>Second level</a:t>
            </a:r>
          </a:p>
          <a:p>
            <a:pPr lvl="2"/>
            <a:r>
              <a:rPr lang="en-US" dirty="0"/>
              <a:t>Third level</a:t>
            </a:r>
          </a:p>
        </p:txBody>
      </p:sp>
      <p:sp>
        <p:nvSpPr>
          <p:cNvPr id="19" name="Content Placeholder 15">
            <a:extLst>
              <a:ext uri="{FF2B5EF4-FFF2-40B4-BE49-F238E27FC236}">
                <a16:creationId xmlns:a16="http://schemas.microsoft.com/office/drawing/2014/main" id="{92A502BB-540D-F9D1-D9B0-BE79C873DB94}"/>
              </a:ext>
            </a:extLst>
          </p:cNvPr>
          <p:cNvSpPr>
            <a:spLocks noGrp="1"/>
          </p:cNvSpPr>
          <p:nvPr>
            <p:ph sz="quarter" idx="20"/>
          </p:nvPr>
        </p:nvSpPr>
        <p:spPr>
          <a:xfrm>
            <a:off x="8911413"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4660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lumn Text with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459509"/>
            <a:ext cx="10515600" cy="1040797"/>
          </a:xfrm>
        </p:spPr>
        <p:txBody>
          <a:bodyPr/>
          <a:lstStyle>
            <a:lvl1pPr algn="ctr">
              <a:defRPr/>
            </a:lvl1pPr>
          </a:lstStyle>
          <a:p>
            <a:r>
              <a:rPr lang="en-US" dirty="0"/>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lvl1pPr>
              <a:defRPr sz="800"/>
            </a:lvl1pPr>
          </a:lstStyle>
          <a:p>
            <a:endParaRPr lang="en-US" dirty="0"/>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lvl1pPr>
              <a:defRPr sz="800"/>
            </a:lvl1pPr>
          </a:lstStyle>
          <a:p>
            <a:fld id="{02B5F485-982A-41B4-B657-C5770F0E9220}" type="slidenum">
              <a:rPr lang="en-US" smtClean="0"/>
              <a:pPr/>
              <a:t>‹#›</a:t>
            </a:fld>
            <a:endParaRPr lang="en-US" dirty="0"/>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a:xfrm>
            <a:off x="7217563" y="6525906"/>
            <a:ext cx="1799771" cy="123111"/>
          </a:xfrm>
        </p:spPr>
        <p:txBody>
          <a:bodyPr/>
          <a:lstStyle>
            <a:lvl1pPr>
              <a:defRPr sz="800"/>
            </a:lvl1pPr>
          </a:lstStyle>
          <a:p>
            <a:endParaRPr lang="en-US" dirty="0"/>
          </a:p>
        </p:txBody>
      </p:sp>
      <p:sp>
        <p:nvSpPr>
          <p:cNvPr id="6" name="Text Placeholder 2">
            <a:extLst>
              <a:ext uri="{FF2B5EF4-FFF2-40B4-BE49-F238E27FC236}">
                <a16:creationId xmlns:a16="http://schemas.microsoft.com/office/drawing/2014/main" id="{7D7C8541-12C1-3581-72D9-3B984D5BE336}"/>
              </a:ext>
            </a:extLst>
          </p:cNvPr>
          <p:cNvSpPr>
            <a:spLocks noGrp="1"/>
          </p:cNvSpPr>
          <p:nvPr>
            <p:ph type="body" idx="1" hasCustomPrompt="1"/>
          </p:nvPr>
        </p:nvSpPr>
        <p:spPr>
          <a:xfrm>
            <a:off x="845362" y="1624214"/>
            <a:ext cx="5157787" cy="540955"/>
          </a:xfrm>
          <a:prstGeom prst="rect">
            <a:avLst/>
          </a:prstGeom>
        </p:spPr>
        <p:txBody>
          <a:bodyPr anchor="ctr">
            <a:normAutofit/>
          </a:bodyPr>
          <a:lstStyle>
            <a:lvl1pPr marL="0" indent="0" algn="ctr">
              <a:buNone/>
              <a:defRPr sz="1800" b="1" i="0">
                <a:solidFill>
                  <a:schemeClr val="tx2"/>
                </a:solidFill>
                <a:latin typeface="Figtre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2">
            <a:extLst>
              <a:ext uri="{FF2B5EF4-FFF2-40B4-BE49-F238E27FC236}">
                <a16:creationId xmlns:a16="http://schemas.microsoft.com/office/drawing/2014/main" id="{BA9030B6-1255-405D-F315-9B68CDEFF113}"/>
              </a:ext>
            </a:extLst>
          </p:cNvPr>
          <p:cNvSpPr>
            <a:spLocks noGrp="1"/>
          </p:cNvSpPr>
          <p:nvPr>
            <p:ph type="body" idx="17" hasCustomPrompt="1"/>
          </p:nvPr>
        </p:nvSpPr>
        <p:spPr>
          <a:xfrm>
            <a:off x="6240363" y="1630566"/>
            <a:ext cx="5106275" cy="540955"/>
          </a:xfrm>
          <a:prstGeom prst="rect">
            <a:avLst/>
          </a:prstGeom>
        </p:spPr>
        <p:txBody>
          <a:bodyPr anchor="ctr">
            <a:normAutofit/>
          </a:bodyPr>
          <a:lstStyle>
            <a:lvl1pPr marL="0" indent="0" algn="ctr">
              <a:buNone/>
              <a:defRPr sz="1800" b="1" i="0">
                <a:solidFill>
                  <a:schemeClr val="tx2"/>
                </a:solidFill>
                <a:latin typeface="Figtre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Content Placeholder 10">
            <a:extLst>
              <a:ext uri="{FF2B5EF4-FFF2-40B4-BE49-F238E27FC236}">
                <a16:creationId xmlns:a16="http://schemas.microsoft.com/office/drawing/2014/main" id="{35B62B7D-657B-2F33-0F7D-C4A7D9B7655B}"/>
              </a:ext>
            </a:extLst>
          </p:cNvPr>
          <p:cNvSpPr>
            <a:spLocks noGrp="1"/>
          </p:cNvSpPr>
          <p:nvPr>
            <p:ph sz="quarter" idx="18"/>
          </p:nvPr>
        </p:nvSpPr>
        <p:spPr>
          <a:xfrm>
            <a:off x="845362" y="2390214"/>
            <a:ext cx="2482850" cy="3457476"/>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
        <p:nvSpPr>
          <p:cNvPr id="15" name="Content Placeholder 15">
            <a:extLst>
              <a:ext uri="{FF2B5EF4-FFF2-40B4-BE49-F238E27FC236}">
                <a16:creationId xmlns:a16="http://schemas.microsoft.com/office/drawing/2014/main" id="{0B2CFCA0-D4B2-407A-C0FE-3CC132BF86BB}"/>
              </a:ext>
            </a:extLst>
          </p:cNvPr>
          <p:cNvSpPr>
            <a:spLocks noGrp="1"/>
          </p:cNvSpPr>
          <p:nvPr>
            <p:ph sz="quarter" idx="19"/>
          </p:nvPr>
        </p:nvSpPr>
        <p:spPr>
          <a:xfrm>
            <a:off x="3563823" y="2376208"/>
            <a:ext cx="2435225" cy="347148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F4453067-7D1E-9A5B-4DDD-3639A98CB5DF}"/>
              </a:ext>
            </a:extLst>
          </p:cNvPr>
          <p:cNvSpPr>
            <a:spLocks noGrp="1"/>
          </p:cNvSpPr>
          <p:nvPr>
            <p:ph sz="quarter" idx="20"/>
          </p:nvPr>
        </p:nvSpPr>
        <p:spPr>
          <a:xfrm>
            <a:off x="6234659" y="2376207"/>
            <a:ext cx="2435225" cy="347148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
        <p:nvSpPr>
          <p:cNvPr id="17" name="Content Placeholder 15">
            <a:extLst>
              <a:ext uri="{FF2B5EF4-FFF2-40B4-BE49-F238E27FC236}">
                <a16:creationId xmlns:a16="http://schemas.microsoft.com/office/drawing/2014/main" id="{4A7B43BF-4975-D435-3038-915E872E5CFF}"/>
              </a:ext>
            </a:extLst>
          </p:cNvPr>
          <p:cNvSpPr>
            <a:spLocks noGrp="1"/>
          </p:cNvSpPr>
          <p:nvPr>
            <p:ph sz="quarter" idx="21"/>
          </p:nvPr>
        </p:nvSpPr>
        <p:spPr>
          <a:xfrm>
            <a:off x="8911413" y="2383210"/>
            <a:ext cx="2435225" cy="347148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07470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with Secondary 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7C0111-8D38-DADB-3FF9-AFA33A3C5848}"/>
              </a:ext>
            </a:extLst>
          </p:cNvPr>
          <p:cNvSpPr>
            <a:spLocks noGrp="1"/>
          </p:cNvSpPr>
          <p:nvPr>
            <p:ph type="body" idx="1" hasCustomPrompt="1"/>
          </p:nvPr>
        </p:nvSpPr>
        <p:spPr>
          <a:xfrm>
            <a:off x="839788" y="1303797"/>
            <a:ext cx="5157787" cy="823912"/>
          </a:xfrm>
          <a:prstGeom prst="rect">
            <a:avLst/>
          </a:prstGeom>
        </p:spPr>
        <p:txBody>
          <a:bodyPr anchor="ctr">
            <a:normAutofit/>
          </a:bodyPr>
          <a:lstStyle>
            <a:lvl1pPr marL="0" indent="0" algn="ctr">
              <a:buNone/>
              <a:defRPr sz="2000" b="1" i="0">
                <a:solidFill>
                  <a:schemeClr val="tx2"/>
                </a:solidFill>
                <a:latin typeface="Figtre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6795097-975E-D965-7F9D-330C57FDAC4D}"/>
              </a:ext>
            </a:extLst>
          </p:cNvPr>
          <p:cNvSpPr>
            <a:spLocks noGrp="1"/>
          </p:cNvSpPr>
          <p:nvPr>
            <p:ph sz="half" idx="2"/>
          </p:nvPr>
        </p:nvSpPr>
        <p:spPr>
          <a:xfrm>
            <a:off x="839788" y="2334225"/>
            <a:ext cx="5157787" cy="3478071"/>
          </a:xfrm>
          <a:prstGeom prst="rect">
            <a:avLst/>
          </a:prstGeom>
        </p:spPr>
        <p:txBody>
          <a:bodyPr/>
          <a:lstStyle>
            <a:lvl1pPr>
              <a:lnSpc>
                <a:spcPct val="100000"/>
              </a:lnSpc>
              <a:buClr>
                <a:schemeClr val="tx2"/>
              </a:buClr>
              <a:defRPr>
                <a:latin typeface="Arial" panose="020B0604020202020204" pitchFamily="34" charset="0"/>
                <a:cs typeface="Arial" panose="020B0604020202020204" pitchFamily="34" charset="0"/>
              </a:defRPr>
            </a:lvl1pPr>
            <a:lvl2pPr>
              <a:lnSpc>
                <a:spcPct val="100000"/>
              </a:lnSpc>
              <a:buClr>
                <a:schemeClr val="tx2"/>
              </a:buClr>
              <a:defRPr>
                <a:latin typeface="Arial" panose="020B0604020202020204" pitchFamily="34" charset="0"/>
                <a:cs typeface="Arial" panose="020B0604020202020204" pitchFamily="34" charset="0"/>
              </a:defRPr>
            </a:lvl2pPr>
            <a:lvl3pPr>
              <a:lnSpc>
                <a:spcPct val="100000"/>
              </a:lnSpc>
              <a:buClr>
                <a:schemeClr val="tx2"/>
              </a:buClr>
              <a:defRPr>
                <a:latin typeface="Arial" panose="020B0604020202020204" pitchFamily="34" charset="0"/>
                <a:cs typeface="Arial" panose="020B0604020202020204" pitchFamily="34" charset="0"/>
              </a:defRPr>
            </a:lvl3pPr>
            <a:lvl4pPr>
              <a:lnSpc>
                <a:spcPct val="100000"/>
              </a:lnSpc>
              <a:buClr>
                <a:schemeClr val="tx2"/>
              </a:buClr>
              <a:defRPr>
                <a:latin typeface="Arial" panose="020B0604020202020204" pitchFamily="34" charset="0"/>
                <a:cs typeface="Arial" panose="020B0604020202020204" pitchFamily="34" charset="0"/>
              </a:defRPr>
            </a:lvl4pPr>
            <a:lvl5pPr>
              <a:lnSpc>
                <a:spcPct val="100000"/>
              </a:lnSpc>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7334921-9959-0168-45D0-EB0D5CE4BD5B}"/>
              </a:ext>
            </a:extLst>
          </p:cNvPr>
          <p:cNvSpPr>
            <a:spLocks noGrp="1"/>
          </p:cNvSpPr>
          <p:nvPr>
            <p:ph type="body" sz="quarter" idx="3" hasCustomPrompt="1"/>
          </p:nvPr>
        </p:nvSpPr>
        <p:spPr>
          <a:xfrm>
            <a:off x="6172200" y="1303797"/>
            <a:ext cx="5183188" cy="823912"/>
          </a:xfrm>
          <a:prstGeom prst="rect">
            <a:avLst/>
          </a:prstGeom>
        </p:spPr>
        <p:txBody>
          <a:bodyPr anchor="ctr">
            <a:normAutofit/>
          </a:bodyPr>
          <a:lstStyle>
            <a:lvl1pPr marL="0" indent="0" algn="ctr">
              <a:buNone/>
              <a:defRPr sz="2000" b="1" i="0">
                <a:solidFill>
                  <a:schemeClr val="tx2"/>
                </a:solidFill>
                <a:latin typeface="Figtre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66D05A5C-6F72-F7AD-5044-5A688D33FBDB}"/>
              </a:ext>
            </a:extLst>
          </p:cNvPr>
          <p:cNvSpPr>
            <a:spLocks noGrp="1"/>
          </p:cNvSpPr>
          <p:nvPr>
            <p:ph sz="quarter" idx="4"/>
          </p:nvPr>
        </p:nvSpPr>
        <p:spPr>
          <a:xfrm>
            <a:off x="6172200" y="2334225"/>
            <a:ext cx="5183188" cy="3478072"/>
          </a:xfrm>
          <a:prstGeom prst="rect">
            <a:avLst/>
          </a:prstGeom>
        </p:spPr>
        <p:txBody>
          <a:bodyPr/>
          <a:lstStyle>
            <a:lvl1pPr>
              <a:lnSpc>
                <a:spcPct val="100000"/>
              </a:lnSpc>
              <a:buClr>
                <a:schemeClr val="tx2"/>
              </a:buClr>
              <a:defRPr>
                <a:latin typeface="Arial" panose="020B0604020202020204" pitchFamily="34" charset="0"/>
                <a:cs typeface="Arial" panose="020B0604020202020204" pitchFamily="34" charset="0"/>
              </a:defRPr>
            </a:lvl1pPr>
            <a:lvl2pPr>
              <a:lnSpc>
                <a:spcPct val="100000"/>
              </a:lnSpc>
              <a:buClr>
                <a:schemeClr val="tx2"/>
              </a:buClr>
              <a:defRPr>
                <a:latin typeface="Arial" panose="020B0604020202020204" pitchFamily="34" charset="0"/>
                <a:cs typeface="Arial" panose="020B0604020202020204" pitchFamily="34" charset="0"/>
              </a:defRPr>
            </a:lvl2pPr>
            <a:lvl3pPr>
              <a:lnSpc>
                <a:spcPct val="100000"/>
              </a:lnSpc>
              <a:buClr>
                <a:schemeClr val="tx2"/>
              </a:buClr>
              <a:defRPr>
                <a:latin typeface="Arial" panose="020B0604020202020204" pitchFamily="34" charset="0"/>
                <a:cs typeface="Arial" panose="020B0604020202020204" pitchFamily="34" charset="0"/>
              </a:defRPr>
            </a:lvl3pPr>
            <a:lvl4pPr>
              <a:lnSpc>
                <a:spcPct val="100000"/>
              </a:lnSpc>
              <a:buClr>
                <a:schemeClr val="tx2"/>
              </a:buClr>
              <a:defRPr>
                <a:latin typeface="Arial" panose="020B0604020202020204" pitchFamily="34" charset="0"/>
                <a:cs typeface="Arial" panose="020B0604020202020204" pitchFamily="34" charset="0"/>
              </a:defRPr>
            </a:lvl4pPr>
            <a:lvl5pPr>
              <a:lnSpc>
                <a:spcPct val="100000"/>
              </a:lnSpc>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older 2">
            <a:extLst>
              <a:ext uri="{FF2B5EF4-FFF2-40B4-BE49-F238E27FC236}">
                <a16:creationId xmlns:a16="http://schemas.microsoft.com/office/drawing/2014/main" id="{26FB0911-599B-24FD-FF61-45D3BF31A35D}"/>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Figtree" pitchFamily="2" charset="0"/>
                <a:cs typeface="Figtree" pitchFamily="2" charset="0"/>
              </a:defRPr>
            </a:lvl1pPr>
          </a:lstStyle>
          <a:p>
            <a:r>
              <a:rPr lang="en-US"/>
              <a:t>Click to edit Master title style</a:t>
            </a:r>
            <a:endParaRPr dirty="0"/>
          </a:p>
        </p:txBody>
      </p:sp>
      <p:sp>
        <p:nvSpPr>
          <p:cNvPr id="17" name="Footer Placeholder 4">
            <a:extLst>
              <a:ext uri="{FF2B5EF4-FFF2-40B4-BE49-F238E27FC236}">
                <a16:creationId xmlns:a16="http://schemas.microsoft.com/office/drawing/2014/main" id="{C22B2303-BDE6-E925-0553-2171465F494B}"/>
              </a:ext>
            </a:extLst>
          </p:cNvPr>
          <p:cNvSpPr>
            <a:spLocks noGrp="1"/>
          </p:cNvSpPr>
          <p:nvPr>
            <p:ph type="ftr" sz="quarter" idx="10"/>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8" name="Slide Number Placeholder 5">
            <a:extLst>
              <a:ext uri="{FF2B5EF4-FFF2-40B4-BE49-F238E27FC236}">
                <a16:creationId xmlns:a16="http://schemas.microsoft.com/office/drawing/2014/main" id="{DF3DC118-923D-8C2C-EF96-B079FB21597D}"/>
              </a:ext>
            </a:extLst>
          </p:cNvPr>
          <p:cNvSpPr>
            <a:spLocks noGrp="1"/>
          </p:cNvSpPr>
          <p:nvPr>
            <p:ph type="sldNum" sz="quarter" idx="11"/>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9" name="Holder 5">
            <a:extLst>
              <a:ext uri="{FF2B5EF4-FFF2-40B4-BE49-F238E27FC236}">
                <a16:creationId xmlns:a16="http://schemas.microsoft.com/office/drawing/2014/main" id="{DD4EC778-DA47-1A36-0618-E46374EBBD17}"/>
              </a:ext>
            </a:extLst>
          </p:cNvPr>
          <p:cNvSpPr>
            <a:spLocks noGrp="1"/>
          </p:cNvSpPr>
          <p:nvPr>
            <p:ph type="dt" sz="half" idx="1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9183674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CE46A-509B-CFDE-C5BB-E2A7B52A4EE6}"/>
              </a:ext>
            </a:extLst>
          </p:cNvPr>
          <p:cNvSpPr>
            <a:spLocks noGrp="1"/>
          </p:cNvSpPr>
          <p:nvPr>
            <p:ph type="title"/>
          </p:nvPr>
        </p:nvSpPr>
        <p:spPr>
          <a:xfrm>
            <a:off x="839787" y="457200"/>
            <a:ext cx="10515601" cy="723418"/>
          </a:xfrm>
          <a:prstGeom prst="rect">
            <a:avLst/>
          </a:prstGeom>
        </p:spPr>
        <p:txBody>
          <a:bodyPr anchor="ctr"/>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F6C2C4D2-D9D1-A7A8-0DDE-9DF0D0A5AC2E}"/>
              </a:ext>
            </a:extLst>
          </p:cNvPr>
          <p:cNvSpPr>
            <a:spLocks noGrp="1"/>
          </p:cNvSpPr>
          <p:nvPr>
            <p:ph type="pic" idx="1"/>
          </p:nvPr>
        </p:nvSpPr>
        <p:spPr>
          <a:xfrm>
            <a:off x="5183188" y="1435261"/>
            <a:ext cx="6172200" cy="4425789"/>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6" name="Footer Placeholder 4">
            <a:extLst>
              <a:ext uri="{FF2B5EF4-FFF2-40B4-BE49-F238E27FC236}">
                <a16:creationId xmlns:a16="http://schemas.microsoft.com/office/drawing/2014/main" id="{FF901D16-ECEE-E9B6-A330-9F6E02685DFD}"/>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Calibri" panose="020F0502020204030204" pitchFamily="34" charset="0"/>
                <a:cs typeface="Calibri" panose="020F0502020204030204" pitchFamily="34" charset="0"/>
              </a:defRPr>
            </a:lvl1pPr>
          </a:lstStyle>
          <a:p>
            <a:endParaRPr lang="en-US" dirty="0"/>
          </a:p>
        </p:txBody>
      </p:sp>
      <p:sp>
        <p:nvSpPr>
          <p:cNvPr id="17" name="Slide Number Placeholder 5">
            <a:extLst>
              <a:ext uri="{FF2B5EF4-FFF2-40B4-BE49-F238E27FC236}">
                <a16:creationId xmlns:a16="http://schemas.microsoft.com/office/drawing/2014/main" id="{55A87F82-C3A9-E64F-2E15-760F6204B58A}"/>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dirty="0"/>
          </a:p>
        </p:txBody>
      </p:sp>
      <p:sp>
        <p:nvSpPr>
          <p:cNvPr id="18" name="Holder 5">
            <a:extLst>
              <a:ext uri="{FF2B5EF4-FFF2-40B4-BE49-F238E27FC236}">
                <a16:creationId xmlns:a16="http://schemas.microsoft.com/office/drawing/2014/main" id="{37519627-C72C-51BF-6150-DE558326285A}"/>
              </a:ext>
            </a:extLst>
          </p:cNvPr>
          <p:cNvSpPr>
            <a:spLocks noGrp="1"/>
          </p:cNvSpPr>
          <p:nvPr>
            <p:ph type="dt" sz="half" idx="10"/>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Calibri" panose="020F0502020204030204" pitchFamily="34" charset="0"/>
                <a:cs typeface="Calibri" panose="020F0502020204030204" pitchFamily="34" charset="0"/>
              </a:defRPr>
            </a:lvl1pPr>
          </a:lstStyle>
          <a:p>
            <a:endParaRPr lang="en-US" dirty="0"/>
          </a:p>
        </p:txBody>
      </p:sp>
      <p:sp>
        <p:nvSpPr>
          <p:cNvPr id="6" name="Content Placeholder 5">
            <a:extLst>
              <a:ext uri="{FF2B5EF4-FFF2-40B4-BE49-F238E27FC236}">
                <a16:creationId xmlns:a16="http://schemas.microsoft.com/office/drawing/2014/main" id="{DD169C59-D24B-D17B-19D6-BCCF81B05819}"/>
              </a:ext>
            </a:extLst>
          </p:cNvPr>
          <p:cNvSpPr>
            <a:spLocks noGrp="1"/>
          </p:cNvSpPr>
          <p:nvPr>
            <p:ph sz="quarter" idx="11"/>
          </p:nvPr>
        </p:nvSpPr>
        <p:spPr>
          <a:xfrm>
            <a:off x="839788" y="1435100"/>
            <a:ext cx="4027487" cy="4425950"/>
          </a:xfr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975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nect with MESC">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a:blip r:embed="rId2" cstate="screen">
            <a:duotone>
              <a:prstClr val="black"/>
              <a:schemeClr val="accent2">
                <a:tint val="45000"/>
                <a:satMod val="400000"/>
              </a:schemeClr>
            </a:duotone>
            <a:alphaModFix amt="30000"/>
            <a:extLst>
              <a:ext uri="{28A0092B-C50C-407E-A947-70E740481C1C}">
                <a14:useLocalDpi xmlns:a14="http://schemas.microsoft.com/office/drawing/2010/main"/>
              </a:ext>
            </a:extLst>
          </a:blip>
          <a:srcRect/>
          <a:stretch/>
        </p:blipFill>
        <p:spPr>
          <a:xfrm>
            <a:off x="-1" y="-11888"/>
            <a:ext cx="12192001" cy="6858000"/>
          </a:xfrm>
          <a:prstGeom prst="rect">
            <a:avLst/>
          </a:prstGeom>
        </p:spPr>
      </p:pic>
      <p:sp>
        <p:nvSpPr>
          <p:cNvPr id="12" name="Holder 2">
            <a:extLst>
              <a:ext uri="{FF2B5EF4-FFF2-40B4-BE49-F238E27FC236}">
                <a16:creationId xmlns:a16="http://schemas.microsoft.com/office/drawing/2014/main" id="{2DFDFA16-0AF7-197D-5FD6-E6C27577C4E8}"/>
              </a:ext>
            </a:extLst>
          </p:cNvPr>
          <p:cNvSpPr>
            <a:spLocks noGrp="1"/>
          </p:cNvSpPr>
          <p:nvPr>
            <p:ph type="title" hasCustomPrompt="1"/>
          </p:nvPr>
        </p:nvSpPr>
        <p:spPr>
          <a:xfrm>
            <a:off x="822961" y="1430529"/>
            <a:ext cx="4838804" cy="1846659"/>
          </a:xfrm>
          <a:prstGeom prst="rect">
            <a:avLst/>
          </a:prstGeom>
        </p:spPr>
        <p:txBody>
          <a:bodyPr wrap="square" lIns="91440" tIns="0" rIns="91440" bIns="0" anchor="b" anchorCtr="0">
            <a:spAutoFit/>
          </a:bodyPr>
          <a:lstStyle>
            <a:lvl1pPr algn="l">
              <a:defRPr sz="6000" b="0" i="0">
                <a:solidFill>
                  <a:schemeClr val="bg1"/>
                </a:solidFill>
                <a:latin typeface="Figtree" pitchFamily="2" charset="0"/>
                <a:cs typeface="Figtree" pitchFamily="2" charset="0"/>
              </a:defRPr>
            </a:lvl1pPr>
          </a:lstStyle>
          <a:p>
            <a:r>
              <a:rPr lang="en-US" dirty="0"/>
              <a:t>Connect </a:t>
            </a:r>
            <a:br>
              <a:rPr lang="en-US" dirty="0"/>
            </a:br>
            <a:r>
              <a:rPr lang="en-US" dirty="0"/>
              <a:t>with MESC</a:t>
            </a:r>
            <a:endParaRPr dirty="0"/>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7458755" y="5866771"/>
            <a:ext cx="4500161" cy="649084"/>
          </a:xfrm>
          <a:prstGeom prst="rect">
            <a:avLst/>
          </a:prstGeom>
        </p:spPr>
      </p:pic>
      <p:sp>
        <p:nvSpPr>
          <p:cNvPr id="6" name="TextBox 5">
            <a:extLst>
              <a:ext uri="{FF2B5EF4-FFF2-40B4-BE49-F238E27FC236}">
                <a16:creationId xmlns:a16="http://schemas.microsoft.com/office/drawing/2014/main" id="{FE800C8C-9F88-A02B-6598-8F509D25AEA3}"/>
              </a:ext>
            </a:extLst>
          </p:cNvPr>
          <p:cNvSpPr txBox="1"/>
          <p:nvPr userDrawn="1"/>
        </p:nvSpPr>
        <p:spPr>
          <a:xfrm>
            <a:off x="822961" y="3455394"/>
            <a:ext cx="10172178" cy="738664"/>
          </a:xfrm>
          <a:prstGeom prst="rect">
            <a:avLst/>
          </a:prstGeom>
          <a:noFill/>
        </p:spPr>
        <p:txBody>
          <a:bodyPr wrap="square" rtlCol="0">
            <a:spAutoFit/>
          </a:bodyPr>
          <a:lstStyle/>
          <a:p>
            <a:r>
              <a:rPr lang="en-US" sz="4200" b="1" i="0" dirty="0" err="1">
                <a:solidFill>
                  <a:schemeClr val="accent3"/>
                </a:solidFill>
                <a:latin typeface="Figtree" pitchFamily="2" charset="0"/>
                <a:cs typeface="Calibri" panose="020F0502020204030204" pitchFamily="34" charset="0"/>
              </a:rPr>
              <a:t>energy.gov</a:t>
            </a:r>
            <a:r>
              <a:rPr lang="en-US" sz="4200" b="1" i="0" dirty="0">
                <a:solidFill>
                  <a:schemeClr val="accent3"/>
                </a:solidFill>
                <a:latin typeface="Figtree" pitchFamily="2" charset="0"/>
                <a:cs typeface="Calibri" panose="020F0502020204030204" pitchFamily="34" charset="0"/>
              </a:rPr>
              <a:t>/</a:t>
            </a:r>
            <a:r>
              <a:rPr lang="en-US" sz="4200" b="1" i="0" dirty="0" err="1">
                <a:solidFill>
                  <a:schemeClr val="accent3"/>
                </a:solidFill>
                <a:latin typeface="Figtree" pitchFamily="2" charset="0"/>
                <a:cs typeface="Calibri" panose="020F0502020204030204" pitchFamily="34" charset="0"/>
              </a:rPr>
              <a:t>mesc</a:t>
            </a:r>
            <a:endParaRPr lang="en-US" sz="4200" b="1" i="0" dirty="0">
              <a:solidFill>
                <a:schemeClr val="accent3"/>
              </a:solidFill>
              <a:latin typeface="Figtree" pitchFamily="2" charset="0"/>
              <a:cs typeface="Calibri" panose="020F0502020204030204" pitchFamily="34" charset="0"/>
            </a:endParaRPr>
          </a:p>
        </p:txBody>
      </p:sp>
      <p:pic>
        <p:nvPicPr>
          <p:cNvPr id="9" name="Picture 8" descr="A black and white logo&#10;&#10;Description automatically generated">
            <a:extLst>
              <a:ext uri="{FF2B5EF4-FFF2-40B4-BE49-F238E27FC236}">
                <a16:creationId xmlns:a16="http://schemas.microsoft.com/office/drawing/2014/main" id="{0E369186-E839-49C4-E146-20694AF135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5771" y="5013648"/>
            <a:ext cx="423520" cy="381924"/>
          </a:xfrm>
          <a:prstGeom prst="rect">
            <a:avLst/>
          </a:prstGeom>
        </p:spPr>
      </p:pic>
      <p:grpSp>
        <p:nvGrpSpPr>
          <p:cNvPr id="24" name="Group 23">
            <a:extLst>
              <a:ext uri="{FF2B5EF4-FFF2-40B4-BE49-F238E27FC236}">
                <a16:creationId xmlns:a16="http://schemas.microsoft.com/office/drawing/2014/main" id="{46F4855F-4CAF-310E-A1AD-D1D44EABF38D}"/>
              </a:ext>
            </a:extLst>
          </p:cNvPr>
          <p:cNvGrpSpPr/>
          <p:nvPr userDrawn="1"/>
        </p:nvGrpSpPr>
        <p:grpSpPr>
          <a:xfrm>
            <a:off x="979169" y="4475362"/>
            <a:ext cx="541759" cy="393744"/>
            <a:chOff x="4565650" y="2317750"/>
            <a:chExt cx="3063462" cy="2226488"/>
          </a:xfrm>
        </p:grpSpPr>
        <p:sp>
          <p:nvSpPr>
            <p:cNvPr id="19" name="Freeform 18">
              <a:extLst>
                <a:ext uri="{FF2B5EF4-FFF2-40B4-BE49-F238E27FC236}">
                  <a16:creationId xmlns:a16="http://schemas.microsoft.com/office/drawing/2014/main" id="{EB8DC73D-2DFD-4185-3C1C-3524C2DC4678}"/>
                </a:ext>
              </a:extLst>
            </p:cNvPr>
            <p:cNvSpPr/>
            <p:nvPr/>
          </p:nvSpPr>
          <p:spPr>
            <a:xfrm>
              <a:off x="4733988" y="2317750"/>
              <a:ext cx="2113023" cy="960637"/>
            </a:xfrm>
            <a:custGeom>
              <a:avLst/>
              <a:gdLst>
                <a:gd name="connsiteX0" fmla="*/ 1107745 w 2113023"/>
                <a:gd name="connsiteY0" fmla="*/ 940478 h 960637"/>
                <a:gd name="connsiteX1" fmla="*/ 2113024 w 2113023"/>
                <a:gd name="connsiteY1" fmla="*/ 15766 h 960637"/>
                <a:gd name="connsiteX2" fmla="*/ 2027476 w 2113023"/>
                <a:gd name="connsiteY2" fmla="*/ 0 h 960637"/>
                <a:gd name="connsiteX3" fmla="*/ 85548 w 2113023"/>
                <a:gd name="connsiteY3" fmla="*/ 0 h 960637"/>
                <a:gd name="connsiteX4" fmla="*/ 0 w 2113023"/>
                <a:gd name="connsiteY4" fmla="*/ 15766 h 960637"/>
                <a:gd name="connsiteX5" fmla="*/ 1005373 w 2113023"/>
                <a:gd name="connsiteY5" fmla="*/ 940478 h 960637"/>
                <a:gd name="connsiteX6" fmla="*/ 1107745 w 2113023"/>
                <a:gd name="connsiteY6" fmla="*/ 940478 h 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3023" h="960637">
                  <a:moveTo>
                    <a:pt x="1107745" y="940478"/>
                  </a:moveTo>
                  <a:lnTo>
                    <a:pt x="2113024" y="15766"/>
                  </a:lnTo>
                  <a:cubicBezTo>
                    <a:pt x="2086219" y="6174"/>
                    <a:pt x="2057703" y="0"/>
                    <a:pt x="2027476" y="0"/>
                  </a:cubicBezTo>
                  <a:lnTo>
                    <a:pt x="85548" y="0"/>
                  </a:lnTo>
                  <a:cubicBezTo>
                    <a:pt x="55416" y="0"/>
                    <a:pt x="26900" y="6174"/>
                    <a:pt x="0" y="15766"/>
                  </a:cubicBezTo>
                  <a:lnTo>
                    <a:pt x="1005373" y="940478"/>
                  </a:lnTo>
                  <a:cubicBezTo>
                    <a:pt x="1034460" y="967357"/>
                    <a:pt x="1078564" y="967357"/>
                    <a:pt x="1107745" y="940478"/>
                  </a:cubicBezTo>
                  <a:close/>
                </a:path>
              </a:pathLst>
            </a:custGeom>
            <a:solidFill>
              <a:schemeClr val="bg1"/>
            </a:solid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7B756F2-19A2-938C-737B-CEFEBDA037E4}"/>
                </a:ext>
              </a:extLst>
            </p:cNvPr>
            <p:cNvSpPr/>
            <p:nvPr/>
          </p:nvSpPr>
          <p:spPr>
            <a:xfrm>
              <a:off x="6310248" y="2474939"/>
              <a:ext cx="705672" cy="987397"/>
            </a:xfrm>
            <a:custGeom>
              <a:avLst/>
              <a:gdLst>
                <a:gd name="connsiteX0" fmla="*/ 348273 w 705672"/>
                <a:gd name="connsiteY0" fmla="*/ 987303 h 987397"/>
                <a:gd name="connsiteX1" fmla="*/ 705672 w 705672"/>
                <a:gd name="connsiteY1" fmla="*/ 839611 h 987397"/>
                <a:gd name="connsiteX2" fmla="*/ 705672 w 705672"/>
                <a:gd name="connsiteY2" fmla="*/ 96118 h 987397"/>
                <a:gd name="connsiteX3" fmla="*/ 685426 w 705672"/>
                <a:gd name="connsiteY3" fmla="*/ 0 h 987397"/>
                <a:gd name="connsiteX4" fmla="*/ 0 w 705672"/>
                <a:gd name="connsiteY4" fmla="*/ 630278 h 987397"/>
                <a:gd name="connsiteX5" fmla="*/ 348273 w 705672"/>
                <a:gd name="connsiteY5" fmla="*/ 987398 h 98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672" h="987397">
                  <a:moveTo>
                    <a:pt x="348273" y="987303"/>
                  </a:moveTo>
                  <a:cubicBezTo>
                    <a:pt x="450550" y="904387"/>
                    <a:pt x="574024" y="853763"/>
                    <a:pt x="705672" y="839611"/>
                  </a:cubicBezTo>
                  <a:lnTo>
                    <a:pt x="705672" y="96118"/>
                  </a:lnTo>
                  <a:cubicBezTo>
                    <a:pt x="705672" y="62781"/>
                    <a:pt x="698638" y="29348"/>
                    <a:pt x="685426" y="0"/>
                  </a:cubicBezTo>
                  <a:lnTo>
                    <a:pt x="0" y="630278"/>
                  </a:lnTo>
                  <a:lnTo>
                    <a:pt x="348273" y="987398"/>
                  </a:lnTo>
                  <a:close/>
                </a:path>
              </a:pathLst>
            </a:custGeom>
            <a:solidFill>
              <a:schemeClr val="bg1"/>
            </a:solid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881713F-D245-1B9E-7048-32F902BEF481}"/>
                </a:ext>
              </a:extLst>
            </p:cNvPr>
            <p:cNvSpPr/>
            <p:nvPr/>
          </p:nvSpPr>
          <p:spPr>
            <a:xfrm>
              <a:off x="4726859" y="3244741"/>
              <a:ext cx="1791935" cy="729435"/>
            </a:xfrm>
            <a:custGeom>
              <a:avLst/>
              <a:gdLst>
                <a:gd name="connsiteX0" fmla="*/ 1253366 w 1791935"/>
                <a:gd name="connsiteY0" fmla="*/ 163933 h 729435"/>
                <a:gd name="connsiteX1" fmla="*/ 1064021 w 1791935"/>
                <a:gd name="connsiteY1" fmla="*/ 237827 h 729435"/>
                <a:gd name="connsiteX2" fmla="*/ 873725 w 1791935"/>
                <a:gd name="connsiteY2" fmla="*/ 163933 h 729435"/>
                <a:gd name="connsiteX3" fmla="*/ 694551 w 1791935"/>
                <a:gd name="connsiteY3" fmla="*/ 0 h 729435"/>
                <a:gd name="connsiteX4" fmla="*/ 0 w 1791935"/>
                <a:gd name="connsiteY4" fmla="*/ 711200 h 729435"/>
                <a:gd name="connsiteX5" fmla="*/ 93152 w 1791935"/>
                <a:gd name="connsiteY5" fmla="*/ 729436 h 729435"/>
                <a:gd name="connsiteX6" fmla="*/ 1668462 w 1791935"/>
                <a:gd name="connsiteY6" fmla="*/ 729436 h 729435"/>
                <a:gd name="connsiteX7" fmla="*/ 1791935 w 1791935"/>
                <a:gd name="connsiteY7" fmla="*/ 367282 h 729435"/>
                <a:gd name="connsiteX8" fmla="*/ 1432541 w 1791935"/>
                <a:gd name="connsiteY8" fmla="*/ 95 h 729435"/>
                <a:gd name="connsiteX9" fmla="*/ 1253366 w 1791935"/>
                <a:gd name="connsiteY9" fmla="*/ 164028 h 72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935" h="729435">
                  <a:moveTo>
                    <a:pt x="1253366" y="163933"/>
                  </a:moveTo>
                  <a:cubicBezTo>
                    <a:pt x="1200707" y="213512"/>
                    <a:pt x="1131889" y="237827"/>
                    <a:pt x="1064021" y="237827"/>
                  </a:cubicBezTo>
                  <a:cubicBezTo>
                    <a:pt x="996153" y="237827"/>
                    <a:pt x="927335" y="213512"/>
                    <a:pt x="873725" y="163933"/>
                  </a:cubicBezTo>
                  <a:lnTo>
                    <a:pt x="694551" y="0"/>
                  </a:lnTo>
                  <a:lnTo>
                    <a:pt x="0" y="711200"/>
                  </a:lnTo>
                  <a:cubicBezTo>
                    <a:pt x="28326" y="722312"/>
                    <a:pt x="59693" y="729436"/>
                    <a:pt x="93152" y="729436"/>
                  </a:cubicBezTo>
                  <a:lnTo>
                    <a:pt x="1668462" y="729436"/>
                  </a:lnTo>
                  <a:cubicBezTo>
                    <a:pt x="1674545" y="598935"/>
                    <a:pt x="1717034" y="474513"/>
                    <a:pt x="1791935" y="367282"/>
                  </a:cubicBezTo>
                  <a:lnTo>
                    <a:pt x="1432541" y="95"/>
                  </a:lnTo>
                  <a:lnTo>
                    <a:pt x="1253366" y="164028"/>
                  </a:lnTo>
                  <a:close/>
                </a:path>
              </a:pathLst>
            </a:custGeom>
            <a:solidFill>
              <a:schemeClr val="bg1"/>
            </a:solidFill>
            <a:ln w="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ACB21778-3E74-C75C-BD02-E1DB05A4BED8}"/>
                </a:ext>
              </a:extLst>
            </p:cNvPr>
            <p:cNvSpPr/>
            <p:nvPr/>
          </p:nvSpPr>
          <p:spPr>
            <a:xfrm>
              <a:off x="4565650" y="2474749"/>
              <a:ext cx="705101" cy="1335399"/>
            </a:xfrm>
            <a:custGeom>
              <a:avLst/>
              <a:gdLst>
                <a:gd name="connsiteX0" fmla="*/ 19296 w 705101"/>
                <a:gd name="connsiteY0" fmla="*/ 0 h 1335399"/>
                <a:gd name="connsiteX1" fmla="*/ 0 w 705101"/>
                <a:gd name="connsiteY1" fmla="*/ 96688 h 1335399"/>
                <a:gd name="connsiteX2" fmla="*/ 0 w 705101"/>
                <a:gd name="connsiteY2" fmla="*/ 1245835 h 1335399"/>
                <a:gd name="connsiteX3" fmla="*/ 17110 w 705101"/>
                <a:gd name="connsiteY3" fmla="*/ 1335400 h 1335399"/>
                <a:gd name="connsiteX4" fmla="*/ 705102 w 705101"/>
                <a:gd name="connsiteY4" fmla="*/ 630753 h 1335399"/>
                <a:gd name="connsiteX5" fmla="*/ 19296 w 705101"/>
                <a:gd name="connsiteY5" fmla="*/ 0 h 133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101" h="1335399">
                  <a:moveTo>
                    <a:pt x="19296" y="0"/>
                  </a:moveTo>
                  <a:cubicBezTo>
                    <a:pt x="6939" y="29823"/>
                    <a:pt x="0" y="62401"/>
                    <a:pt x="0" y="96688"/>
                  </a:cubicBezTo>
                  <a:lnTo>
                    <a:pt x="0" y="1245835"/>
                  </a:lnTo>
                  <a:cubicBezTo>
                    <a:pt x="0" y="1277463"/>
                    <a:pt x="6464" y="1307476"/>
                    <a:pt x="17110" y="1335400"/>
                  </a:cubicBezTo>
                  <a:lnTo>
                    <a:pt x="705102" y="630753"/>
                  </a:lnTo>
                  <a:lnTo>
                    <a:pt x="19296" y="0"/>
                  </a:lnTo>
                  <a:close/>
                </a:path>
              </a:pathLst>
            </a:custGeom>
            <a:solidFill>
              <a:schemeClr val="bg1"/>
            </a:solidFill>
            <a:ln w="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BCCD2632-A0DC-8486-7937-7924147C783A}"/>
                </a:ext>
              </a:extLst>
            </p:cNvPr>
            <p:cNvSpPr/>
            <p:nvPr/>
          </p:nvSpPr>
          <p:spPr>
            <a:xfrm>
              <a:off x="6555925" y="3471984"/>
              <a:ext cx="1073187" cy="1072254"/>
            </a:xfrm>
            <a:custGeom>
              <a:avLst/>
              <a:gdLst>
                <a:gd name="connsiteX0" fmla="*/ 1069949 w 1073187"/>
                <a:gd name="connsiteY0" fmla="*/ 477214 h 1072254"/>
                <a:gd name="connsiteX1" fmla="*/ 620920 w 1073187"/>
                <a:gd name="connsiteY1" fmla="*/ 6500 h 1072254"/>
                <a:gd name="connsiteX2" fmla="*/ 157157 w 1073187"/>
                <a:gd name="connsiteY2" fmla="*/ 157041 h 1072254"/>
                <a:gd name="connsiteX3" fmla="*/ 6498 w 1073187"/>
                <a:gd name="connsiteY3" fmla="*/ 620442 h 1072254"/>
                <a:gd name="connsiteX4" fmla="*/ 478816 w 1073187"/>
                <a:gd name="connsiteY4" fmla="*/ 1069216 h 1072254"/>
                <a:gd name="connsiteX5" fmla="*/ 536703 w 1073187"/>
                <a:gd name="connsiteY5" fmla="*/ 1072255 h 1072254"/>
                <a:gd name="connsiteX6" fmla="*/ 686886 w 1073187"/>
                <a:gd name="connsiteY6" fmla="*/ 1050885 h 1072254"/>
                <a:gd name="connsiteX7" fmla="*/ 734603 w 1073187"/>
                <a:gd name="connsiteY7" fmla="*/ 963979 h 1072254"/>
                <a:gd name="connsiteX8" fmla="*/ 647629 w 1073187"/>
                <a:gd name="connsiteY8" fmla="*/ 916300 h 1072254"/>
                <a:gd name="connsiteX9" fmla="*/ 493454 w 1073187"/>
                <a:gd name="connsiteY9" fmla="*/ 929787 h 1072254"/>
                <a:gd name="connsiteX10" fmla="*/ 145180 w 1073187"/>
                <a:gd name="connsiteY10" fmla="*/ 599166 h 1072254"/>
                <a:gd name="connsiteX11" fmla="*/ 256297 w 1073187"/>
                <a:gd name="connsiteY11" fmla="*/ 256199 h 1072254"/>
                <a:gd name="connsiteX12" fmla="*/ 599628 w 1073187"/>
                <a:gd name="connsiteY12" fmla="*/ 145074 h 1072254"/>
                <a:gd name="connsiteX13" fmla="*/ 930411 w 1073187"/>
                <a:gd name="connsiteY13" fmla="*/ 492221 h 1072254"/>
                <a:gd name="connsiteX14" fmla="*/ 906078 w 1073187"/>
                <a:gd name="connsiteY14" fmla="*/ 679518 h 1072254"/>
                <a:gd name="connsiteX15" fmla="*/ 850187 w 1073187"/>
                <a:gd name="connsiteY15" fmla="*/ 717605 h 1072254"/>
                <a:gd name="connsiteX16" fmla="*/ 780988 w 1073187"/>
                <a:gd name="connsiteY16" fmla="*/ 676954 h 1072254"/>
                <a:gd name="connsiteX17" fmla="*/ 762738 w 1073187"/>
                <a:gd name="connsiteY17" fmla="*/ 638867 h 1072254"/>
                <a:gd name="connsiteX18" fmla="*/ 762738 w 1073187"/>
                <a:gd name="connsiteY18" fmla="*/ 361530 h 1072254"/>
                <a:gd name="connsiteX19" fmla="*/ 692875 w 1073187"/>
                <a:gd name="connsiteY19" fmla="*/ 291721 h 1072254"/>
                <a:gd name="connsiteX20" fmla="*/ 628144 w 1073187"/>
                <a:gd name="connsiteY20" fmla="*/ 336076 h 1072254"/>
                <a:gd name="connsiteX21" fmla="*/ 492313 w 1073187"/>
                <a:gd name="connsiteY21" fmla="*/ 295615 h 1072254"/>
                <a:gd name="connsiteX22" fmla="*/ 289756 w 1073187"/>
                <a:gd name="connsiteY22" fmla="*/ 542559 h 1072254"/>
                <a:gd name="connsiteX23" fmla="*/ 492313 w 1073187"/>
                <a:gd name="connsiteY23" fmla="*/ 789504 h 1072254"/>
                <a:gd name="connsiteX24" fmla="*/ 647725 w 1073187"/>
                <a:gd name="connsiteY24" fmla="*/ 723493 h 1072254"/>
                <a:gd name="connsiteX25" fmla="*/ 654473 w 1073187"/>
                <a:gd name="connsiteY25" fmla="*/ 737550 h 1072254"/>
                <a:gd name="connsiteX26" fmla="*/ 855510 w 1073187"/>
                <a:gd name="connsiteY26" fmla="*/ 857698 h 1072254"/>
                <a:gd name="connsiteX27" fmla="*/ 1036871 w 1073187"/>
                <a:gd name="connsiteY27" fmla="*/ 730237 h 1072254"/>
                <a:gd name="connsiteX28" fmla="*/ 1069949 w 1073187"/>
                <a:gd name="connsiteY28" fmla="*/ 477309 h 1072254"/>
                <a:gd name="connsiteX29" fmla="*/ 519688 w 1073187"/>
                <a:gd name="connsiteY29" fmla="*/ 675149 h 1072254"/>
                <a:gd name="connsiteX30" fmla="*/ 419883 w 1073187"/>
                <a:gd name="connsiteY30" fmla="*/ 542464 h 1072254"/>
                <a:gd name="connsiteX31" fmla="*/ 519688 w 1073187"/>
                <a:gd name="connsiteY31" fmla="*/ 409684 h 1072254"/>
                <a:gd name="connsiteX32" fmla="*/ 619494 w 1073187"/>
                <a:gd name="connsiteY32" fmla="*/ 542464 h 1072254"/>
                <a:gd name="connsiteX33" fmla="*/ 519688 w 1073187"/>
                <a:gd name="connsiteY33" fmla="*/ 675149 h 10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73187" h="1072254">
                  <a:moveTo>
                    <a:pt x="1069949" y="477214"/>
                  </a:moveTo>
                  <a:cubicBezTo>
                    <a:pt x="1044570" y="240337"/>
                    <a:pt x="855795" y="42402"/>
                    <a:pt x="620920" y="6500"/>
                  </a:cubicBezTo>
                  <a:cubicBezTo>
                    <a:pt x="448589" y="-19904"/>
                    <a:pt x="279395" y="34898"/>
                    <a:pt x="157157" y="157041"/>
                  </a:cubicBezTo>
                  <a:cubicBezTo>
                    <a:pt x="35014" y="279088"/>
                    <a:pt x="-19926" y="448055"/>
                    <a:pt x="6498" y="620442"/>
                  </a:cubicBezTo>
                  <a:cubicBezTo>
                    <a:pt x="42523" y="855609"/>
                    <a:pt x="241184" y="1044331"/>
                    <a:pt x="478816" y="1069216"/>
                  </a:cubicBezTo>
                  <a:cubicBezTo>
                    <a:pt x="498206" y="1071210"/>
                    <a:pt x="517502" y="1072255"/>
                    <a:pt x="536703" y="1072255"/>
                  </a:cubicBezTo>
                  <a:cubicBezTo>
                    <a:pt x="587746" y="1072255"/>
                    <a:pt x="638029" y="1065132"/>
                    <a:pt x="686886" y="1050885"/>
                  </a:cubicBezTo>
                  <a:cubicBezTo>
                    <a:pt x="724052" y="1040057"/>
                    <a:pt x="745439" y="1001116"/>
                    <a:pt x="734603" y="963979"/>
                  </a:cubicBezTo>
                  <a:cubicBezTo>
                    <a:pt x="723672" y="926843"/>
                    <a:pt x="684795" y="905378"/>
                    <a:pt x="647629" y="916300"/>
                  </a:cubicBezTo>
                  <a:cubicBezTo>
                    <a:pt x="598012" y="930737"/>
                    <a:pt x="545923" y="935201"/>
                    <a:pt x="493454" y="929787"/>
                  </a:cubicBezTo>
                  <a:cubicBezTo>
                    <a:pt x="318176" y="911456"/>
                    <a:pt x="171700" y="772408"/>
                    <a:pt x="145180" y="599166"/>
                  </a:cubicBezTo>
                  <a:cubicBezTo>
                    <a:pt x="125504" y="471325"/>
                    <a:pt x="166092" y="346333"/>
                    <a:pt x="256297" y="256199"/>
                  </a:cubicBezTo>
                  <a:cubicBezTo>
                    <a:pt x="346502" y="166064"/>
                    <a:pt x="471592" y="125508"/>
                    <a:pt x="599628" y="145074"/>
                  </a:cubicBezTo>
                  <a:cubicBezTo>
                    <a:pt x="772624" y="171478"/>
                    <a:pt x="911686" y="317460"/>
                    <a:pt x="930411" y="492221"/>
                  </a:cubicBezTo>
                  <a:cubicBezTo>
                    <a:pt x="937350" y="557091"/>
                    <a:pt x="929176" y="620062"/>
                    <a:pt x="906078" y="679518"/>
                  </a:cubicBezTo>
                  <a:cubicBezTo>
                    <a:pt x="893246" y="712476"/>
                    <a:pt x="862734" y="717130"/>
                    <a:pt x="850187" y="717605"/>
                  </a:cubicBezTo>
                  <a:cubicBezTo>
                    <a:pt x="825853" y="717795"/>
                    <a:pt x="796102" y="708297"/>
                    <a:pt x="780988" y="676954"/>
                  </a:cubicBezTo>
                  <a:lnTo>
                    <a:pt x="762738" y="638867"/>
                  </a:lnTo>
                  <a:lnTo>
                    <a:pt x="762738" y="361530"/>
                  </a:lnTo>
                  <a:cubicBezTo>
                    <a:pt x="762738" y="322969"/>
                    <a:pt x="731466" y="291721"/>
                    <a:pt x="692875" y="291721"/>
                  </a:cubicBezTo>
                  <a:cubicBezTo>
                    <a:pt x="663408" y="291721"/>
                    <a:pt x="638409" y="310146"/>
                    <a:pt x="628144" y="336076"/>
                  </a:cubicBezTo>
                  <a:cubicBezTo>
                    <a:pt x="606091" y="315465"/>
                    <a:pt x="566074" y="295615"/>
                    <a:pt x="492313" y="295615"/>
                  </a:cubicBezTo>
                  <a:cubicBezTo>
                    <a:pt x="339468" y="295615"/>
                    <a:pt x="289756" y="443212"/>
                    <a:pt x="289756" y="542559"/>
                  </a:cubicBezTo>
                  <a:cubicBezTo>
                    <a:pt x="289756" y="641907"/>
                    <a:pt x="339468" y="789504"/>
                    <a:pt x="492313" y="789504"/>
                  </a:cubicBezTo>
                  <a:cubicBezTo>
                    <a:pt x="598677" y="789504"/>
                    <a:pt x="635083" y="748568"/>
                    <a:pt x="647725" y="723493"/>
                  </a:cubicBezTo>
                  <a:lnTo>
                    <a:pt x="654473" y="737550"/>
                  </a:lnTo>
                  <a:cubicBezTo>
                    <a:pt x="690973" y="813818"/>
                    <a:pt x="771198" y="860548"/>
                    <a:pt x="855510" y="857698"/>
                  </a:cubicBezTo>
                  <a:cubicBezTo>
                    <a:pt x="938016" y="854564"/>
                    <a:pt x="1007499" y="805745"/>
                    <a:pt x="1036871" y="730237"/>
                  </a:cubicBezTo>
                  <a:cubicBezTo>
                    <a:pt x="1068238" y="649695"/>
                    <a:pt x="1079359" y="564594"/>
                    <a:pt x="1069949" y="477309"/>
                  </a:cubicBezTo>
                  <a:close/>
                  <a:moveTo>
                    <a:pt x="519688" y="675149"/>
                  </a:moveTo>
                  <a:cubicBezTo>
                    <a:pt x="448779" y="675149"/>
                    <a:pt x="419883" y="615693"/>
                    <a:pt x="419883" y="542464"/>
                  </a:cubicBezTo>
                  <a:cubicBezTo>
                    <a:pt x="419883" y="469236"/>
                    <a:pt x="443361" y="409684"/>
                    <a:pt x="519688" y="409684"/>
                  </a:cubicBezTo>
                  <a:cubicBezTo>
                    <a:pt x="596016" y="409684"/>
                    <a:pt x="619494" y="469141"/>
                    <a:pt x="619494" y="542464"/>
                  </a:cubicBezTo>
                  <a:cubicBezTo>
                    <a:pt x="619494" y="615788"/>
                    <a:pt x="590503" y="675149"/>
                    <a:pt x="519688" y="675149"/>
                  </a:cubicBezTo>
                  <a:close/>
                </a:path>
              </a:pathLst>
            </a:custGeom>
            <a:solidFill>
              <a:schemeClr val="bg1"/>
            </a:solidFill>
            <a:ln w="0" cap="flat">
              <a:noFill/>
              <a:prstDash val="solid"/>
              <a:miter/>
            </a:ln>
          </p:spPr>
          <p:txBody>
            <a:bodyPr rtlCol="0" anchor="ctr"/>
            <a:lstStyle/>
            <a:p>
              <a:endParaRPr lang="en-US"/>
            </a:p>
          </p:txBody>
        </p:sp>
      </p:grpSp>
      <p:sp>
        <p:nvSpPr>
          <p:cNvPr id="25" name="TextBox 24">
            <a:extLst>
              <a:ext uri="{FF2B5EF4-FFF2-40B4-BE49-F238E27FC236}">
                <a16:creationId xmlns:a16="http://schemas.microsoft.com/office/drawing/2014/main" id="{184565FF-1A25-D7EC-84E0-F544C29628B2}"/>
              </a:ext>
            </a:extLst>
          </p:cNvPr>
          <p:cNvSpPr txBox="1"/>
          <p:nvPr userDrawn="1"/>
        </p:nvSpPr>
        <p:spPr>
          <a:xfrm>
            <a:off x="1631751" y="4287968"/>
            <a:ext cx="8928498" cy="1477328"/>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US" sz="1800" b="0" i="0" dirty="0" err="1">
                <a:solidFill>
                  <a:schemeClr val="bg1"/>
                </a:solidFill>
                <a:latin typeface="Figtree" pitchFamily="2" charset="0"/>
                <a:cs typeface="Calibri" panose="020F0502020204030204" pitchFamily="34" charset="0"/>
              </a:rPr>
              <a:t>MESC@hq.</a:t>
            </a:r>
            <a:r>
              <a:rPr lang="en-US" sz="1800" b="0" i="0" dirty="0" err="1">
                <a:solidFill>
                  <a:schemeClr val="bg1"/>
                </a:solidFill>
                <a:latin typeface="Figtree" pitchFamily="2" charset="0"/>
                <a:cs typeface="Arial" panose="020B0604020202020204" pitchFamily="34" charset="0"/>
              </a:rPr>
              <a:t>doe</a:t>
            </a:r>
            <a:r>
              <a:rPr lang="en-US" sz="1800" b="0" i="0" dirty="0" err="1">
                <a:solidFill>
                  <a:schemeClr val="bg1"/>
                </a:solidFill>
                <a:latin typeface="Figtree" pitchFamily="2" charset="0"/>
                <a:cs typeface="Calibri" panose="020F0502020204030204" pitchFamily="34" charset="0"/>
              </a:rPr>
              <a:t>.gov</a:t>
            </a:r>
            <a:endParaRPr lang="en-US" sz="1800" b="0" i="0" dirty="0">
              <a:solidFill>
                <a:schemeClr val="bg1"/>
              </a:solidFill>
              <a:latin typeface="Figtree" pitchFamily="2" charset="0"/>
              <a:cs typeface="Calibri" panose="020F0502020204030204" pitchFamily="34" charset="0"/>
            </a:endParaRPr>
          </a:p>
          <a:p>
            <a:pPr lvl="0">
              <a:lnSpc>
                <a:spcPct val="200000"/>
              </a:lnSpc>
            </a:pPr>
            <a:r>
              <a:rPr lang="en-US" sz="1800" b="0" i="0" dirty="0">
                <a:solidFill>
                  <a:schemeClr val="bg1"/>
                </a:solidFill>
                <a:latin typeface="Figtree" pitchFamily="2" charset="0"/>
                <a:cs typeface="Calibri" panose="020F0502020204030204" pitchFamily="34" charset="0"/>
              </a:rPr>
              <a:t>Office of Manufacturing and Energy Supply Chains, U.S. Department of Energy</a:t>
            </a:r>
            <a:endParaRPr lang="en-US" sz="1800" dirty="0">
              <a:latin typeface="Figtree" pitchFamily="2" charset="0"/>
            </a:endParaRPr>
          </a:p>
          <a:p>
            <a:endParaRPr lang="en-US" dirty="0">
              <a:latin typeface="Figtree" pitchFamily="2" charset="0"/>
            </a:endParaRPr>
          </a:p>
        </p:txBody>
      </p:sp>
      <p:grpSp>
        <p:nvGrpSpPr>
          <p:cNvPr id="10" name="Graphic 7">
            <a:extLst>
              <a:ext uri="{FF2B5EF4-FFF2-40B4-BE49-F238E27FC236}">
                <a16:creationId xmlns:a16="http://schemas.microsoft.com/office/drawing/2014/main" id="{05F1AB9B-11D5-B2F1-97F1-C1580D812EA5}"/>
              </a:ext>
            </a:extLst>
          </p:cNvPr>
          <p:cNvGrpSpPr/>
          <p:nvPr userDrawn="1"/>
        </p:nvGrpSpPr>
        <p:grpSpPr>
          <a:xfrm>
            <a:off x="7160288" y="839611"/>
            <a:ext cx="3108163" cy="3108163"/>
            <a:chOff x="3943350" y="1276350"/>
            <a:chExt cx="4295775" cy="4295775"/>
          </a:xfrm>
          <a:solidFill>
            <a:srgbClr val="FFFFFF"/>
          </a:solidFill>
        </p:grpSpPr>
        <p:sp>
          <p:nvSpPr>
            <p:cNvPr id="11" name="Freeform 10">
              <a:extLst>
                <a:ext uri="{FF2B5EF4-FFF2-40B4-BE49-F238E27FC236}">
                  <a16:creationId xmlns:a16="http://schemas.microsoft.com/office/drawing/2014/main" id="{7104183E-68EC-5961-2F05-810648B314EC}"/>
                </a:ext>
              </a:extLst>
            </p:cNvPr>
            <p:cNvSpPr/>
            <p:nvPr/>
          </p:nvSpPr>
          <p:spPr>
            <a:xfrm>
              <a:off x="39433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D08558B-F15E-88FF-E22C-936EF871A367}"/>
                </a:ext>
              </a:extLst>
            </p:cNvPr>
            <p:cNvSpPr/>
            <p:nvPr/>
          </p:nvSpPr>
          <p:spPr>
            <a:xfrm>
              <a:off x="39433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4653BE5-8310-7DED-98E5-86DA08351EA1}"/>
                </a:ext>
              </a:extLst>
            </p:cNvPr>
            <p:cNvSpPr/>
            <p:nvPr/>
          </p:nvSpPr>
          <p:spPr>
            <a:xfrm>
              <a:off x="39433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F23AEC3-4BAB-5072-E091-F2F90B5FD144}"/>
                </a:ext>
              </a:extLst>
            </p:cNvPr>
            <p:cNvSpPr/>
            <p:nvPr/>
          </p:nvSpPr>
          <p:spPr>
            <a:xfrm>
              <a:off x="3943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304A6CC-96B1-8451-947A-24850C8B868A}"/>
                </a:ext>
              </a:extLst>
            </p:cNvPr>
            <p:cNvSpPr/>
            <p:nvPr/>
          </p:nvSpPr>
          <p:spPr>
            <a:xfrm>
              <a:off x="3943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1C2F51-39CC-B56F-A58C-65B407AB29F2}"/>
                </a:ext>
              </a:extLst>
            </p:cNvPr>
            <p:cNvSpPr/>
            <p:nvPr/>
          </p:nvSpPr>
          <p:spPr>
            <a:xfrm>
              <a:off x="39433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3396E7F-A0E3-86D5-37D0-6BF62FF53F4B}"/>
                </a:ext>
              </a:extLst>
            </p:cNvPr>
            <p:cNvSpPr/>
            <p:nvPr/>
          </p:nvSpPr>
          <p:spPr>
            <a:xfrm>
              <a:off x="39433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2B461018-1B60-CF2A-E356-DB00E6B1E4DE}"/>
                </a:ext>
              </a:extLst>
            </p:cNvPr>
            <p:cNvSpPr/>
            <p:nvPr/>
          </p:nvSpPr>
          <p:spPr>
            <a:xfrm>
              <a:off x="394335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9CC8B98F-0569-E23A-009C-6F0BD616BBBF}"/>
                </a:ext>
              </a:extLst>
            </p:cNvPr>
            <p:cNvSpPr/>
            <p:nvPr/>
          </p:nvSpPr>
          <p:spPr>
            <a:xfrm>
              <a:off x="3943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946715F-06E2-B7C9-E2FF-C69D4D934E70}"/>
                </a:ext>
              </a:extLst>
            </p:cNvPr>
            <p:cNvSpPr/>
            <p:nvPr/>
          </p:nvSpPr>
          <p:spPr>
            <a:xfrm>
              <a:off x="39433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A74DFBEA-3569-732E-C0FB-1AA6ED8FC15B}"/>
                </a:ext>
              </a:extLst>
            </p:cNvPr>
            <p:cNvSpPr/>
            <p:nvPr/>
          </p:nvSpPr>
          <p:spPr>
            <a:xfrm>
              <a:off x="39433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B1C82468-4A5E-677B-6EC1-FEBE45DA491B}"/>
                </a:ext>
              </a:extLst>
            </p:cNvPr>
            <p:cNvSpPr/>
            <p:nvPr/>
          </p:nvSpPr>
          <p:spPr>
            <a:xfrm>
              <a:off x="3943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1A53B8C-FC1D-DC6E-FDC1-087BA7564D29}"/>
                </a:ext>
              </a:extLst>
            </p:cNvPr>
            <p:cNvSpPr/>
            <p:nvPr/>
          </p:nvSpPr>
          <p:spPr>
            <a:xfrm>
              <a:off x="3943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1EC0C2AA-BCB7-D32C-E9EE-8253067A3FBC}"/>
                </a:ext>
              </a:extLst>
            </p:cNvPr>
            <p:cNvSpPr/>
            <p:nvPr/>
          </p:nvSpPr>
          <p:spPr>
            <a:xfrm>
              <a:off x="3943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8" name="Freeform 657">
              <a:extLst>
                <a:ext uri="{FF2B5EF4-FFF2-40B4-BE49-F238E27FC236}">
                  <a16:creationId xmlns:a16="http://schemas.microsoft.com/office/drawing/2014/main" id="{24B08CD4-CEA4-2115-7C37-0EB8EDB8A35F}"/>
                </a:ext>
              </a:extLst>
            </p:cNvPr>
            <p:cNvSpPr/>
            <p:nvPr/>
          </p:nvSpPr>
          <p:spPr>
            <a:xfrm>
              <a:off x="39433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4DE1AC80-50B9-1690-48D9-EA5B1F46E2CD}"/>
                </a:ext>
              </a:extLst>
            </p:cNvPr>
            <p:cNvSpPr/>
            <p:nvPr/>
          </p:nvSpPr>
          <p:spPr>
            <a:xfrm>
              <a:off x="40481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1D7D6ADF-1BE1-2964-FE6E-C6A8289BC2D8}"/>
                </a:ext>
              </a:extLst>
            </p:cNvPr>
            <p:cNvSpPr/>
            <p:nvPr/>
          </p:nvSpPr>
          <p:spPr>
            <a:xfrm>
              <a:off x="40481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70F2F64A-A96A-A5AB-D844-195345967DF3}"/>
                </a:ext>
              </a:extLst>
            </p:cNvPr>
            <p:cNvSpPr/>
            <p:nvPr/>
          </p:nvSpPr>
          <p:spPr>
            <a:xfrm>
              <a:off x="40481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DC5856FA-A0BA-195A-A759-928B253EF451}"/>
                </a:ext>
              </a:extLst>
            </p:cNvPr>
            <p:cNvSpPr/>
            <p:nvPr/>
          </p:nvSpPr>
          <p:spPr>
            <a:xfrm>
              <a:off x="40481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3A88F423-0441-3573-A0F1-8FC8B8934623}"/>
                </a:ext>
              </a:extLst>
            </p:cNvPr>
            <p:cNvSpPr/>
            <p:nvPr/>
          </p:nvSpPr>
          <p:spPr>
            <a:xfrm>
              <a:off x="40481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DC0501A2-2C23-430C-BD39-47DCD734D7DA}"/>
                </a:ext>
              </a:extLst>
            </p:cNvPr>
            <p:cNvSpPr/>
            <p:nvPr/>
          </p:nvSpPr>
          <p:spPr>
            <a:xfrm>
              <a:off x="404812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5" name="Freeform 664">
              <a:extLst>
                <a:ext uri="{FF2B5EF4-FFF2-40B4-BE49-F238E27FC236}">
                  <a16:creationId xmlns:a16="http://schemas.microsoft.com/office/drawing/2014/main" id="{FBA60856-9146-1337-B9EB-810E40F15863}"/>
                </a:ext>
              </a:extLst>
            </p:cNvPr>
            <p:cNvSpPr/>
            <p:nvPr/>
          </p:nvSpPr>
          <p:spPr>
            <a:xfrm>
              <a:off x="40481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6" name="Freeform 665">
              <a:extLst>
                <a:ext uri="{FF2B5EF4-FFF2-40B4-BE49-F238E27FC236}">
                  <a16:creationId xmlns:a16="http://schemas.microsoft.com/office/drawing/2014/main" id="{7D590DBE-4E9F-430D-FE3A-C23640F46C97}"/>
                </a:ext>
              </a:extLst>
            </p:cNvPr>
            <p:cNvSpPr/>
            <p:nvPr/>
          </p:nvSpPr>
          <p:spPr>
            <a:xfrm>
              <a:off x="40481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2914FB81-1422-DA9C-37C4-BF485B24DB45}"/>
                </a:ext>
              </a:extLst>
            </p:cNvPr>
            <p:cNvSpPr/>
            <p:nvPr/>
          </p:nvSpPr>
          <p:spPr>
            <a:xfrm>
              <a:off x="41529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321EDB18-695D-8F76-BF5E-5AD81B8F1E2A}"/>
                </a:ext>
              </a:extLst>
            </p:cNvPr>
            <p:cNvSpPr/>
            <p:nvPr/>
          </p:nvSpPr>
          <p:spPr>
            <a:xfrm>
              <a:off x="41529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1AEE00CF-FAE6-8DB6-A493-AA943651CE11}"/>
                </a:ext>
              </a:extLst>
            </p:cNvPr>
            <p:cNvSpPr/>
            <p:nvPr/>
          </p:nvSpPr>
          <p:spPr>
            <a:xfrm>
              <a:off x="41529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9A5CE56F-F0B8-3009-3D4C-CAEB73C3660E}"/>
                </a:ext>
              </a:extLst>
            </p:cNvPr>
            <p:cNvSpPr/>
            <p:nvPr/>
          </p:nvSpPr>
          <p:spPr>
            <a:xfrm>
              <a:off x="41529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FC02113C-83EA-165B-2D3C-017AEE948CC7}"/>
                </a:ext>
              </a:extLst>
            </p:cNvPr>
            <p:cNvSpPr/>
            <p:nvPr/>
          </p:nvSpPr>
          <p:spPr>
            <a:xfrm>
              <a:off x="415290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E6180041-FEC7-D017-6609-A0F12555FBA6}"/>
                </a:ext>
              </a:extLst>
            </p:cNvPr>
            <p:cNvSpPr/>
            <p:nvPr/>
          </p:nvSpPr>
          <p:spPr>
            <a:xfrm>
              <a:off x="41529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BD0B73D2-87F6-B5EA-36CA-00E8F056DC21}"/>
                </a:ext>
              </a:extLst>
            </p:cNvPr>
            <p:cNvSpPr/>
            <p:nvPr/>
          </p:nvSpPr>
          <p:spPr>
            <a:xfrm>
              <a:off x="415290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6B8FB31D-FEC2-1C67-B0B3-62900C23A15B}"/>
                </a:ext>
              </a:extLst>
            </p:cNvPr>
            <p:cNvSpPr/>
            <p:nvPr/>
          </p:nvSpPr>
          <p:spPr>
            <a:xfrm>
              <a:off x="41529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C7C43EBA-DA73-A5A1-9507-D9B7C87A35AE}"/>
                </a:ext>
              </a:extLst>
            </p:cNvPr>
            <p:cNvSpPr/>
            <p:nvPr/>
          </p:nvSpPr>
          <p:spPr>
            <a:xfrm>
              <a:off x="41529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6" name="Freeform 675">
              <a:extLst>
                <a:ext uri="{FF2B5EF4-FFF2-40B4-BE49-F238E27FC236}">
                  <a16:creationId xmlns:a16="http://schemas.microsoft.com/office/drawing/2014/main" id="{BB7FFD68-CDDA-9AF2-308E-8A90B2515693}"/>
                </a:ext>
              </a:extLst>
            </p:cNvPr>
            <p:cNvSpPr/>
            <p:nvPr/>
          </p:nvSpPr>
          <p:spPr>
            <a:xfrm>
              <a:off x="41529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7" name="Freeform 676">
              <a:extLst>
                <a:ext uri="{FF2B5EF4-FFF2-40B4-BE49-F238E27FC236}">
                  <a16:creationId xmlns:a16="http://schemas.microsoft.com/office/drawing/2014/main" id="{E91866F0-9193-8526-2749-5F63CADB7E5E}"/>
                </a:ext>
              </a:extLst>
            </p:cNvPr>
            <p:cNvSpPr/>
            <p:nvPr/>
          </p:nvSpPr>
          <p:spPr>
            <a:xfrm>
              <a:off x="41529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8" name="Freeform 677">
              <a:extLst>
                <a:ext uri="{FF2B5EF4-FFF2-40B4-BE49-F238E27FC236}">
                  <a16:creationId xmlns:a16="http://schemas.microsoft.com/office/drawing/2014/main" id="{6826C663-FA44-92F7-A00C-563E442ACA61}"/>
                </a:ext>
              </a:extLst>
            </p:cNvPr>
            <p:cNvSpPr/>
            <p:nvPr/>
          </p:nvSpPr>
          <p:spPr>
            <a:xfrm>
              <a:off x="42576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9" name="Freeform 678">
              <a:extLst>
                <a:ext uri="{FF2B5EF4-FFF2-40B4-BE49-F238E27FC236}">
                  <a16:creationId xmlns:a16="http://schemas.microsoft.com/office/drawing/2014/main" id="{117CC756-EBCB-C50C-38B5-516668E4AD06}"/>
                </a:ext>
              </a:extLst>
            </p:cNvPr>
            <p:cNvSpPr/>
            <p:nvPr/>
          </p:nvSpPr>
          <p:spPr>
            <a:xfrm>
              <a:off x="42576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0" name="Freeform 679">
              <a:extLst>
                <a:ext uri="{FF2B5EF4-FFF2-40B4-BE49-F238E27FC236}">
                  <a16:creationId xmlns:a16="http://schemas.microsoft.com/office/drawing/2014/main" id="{02B21AE2-55D5-AC13-5CE0-D724E91A49B5}"/>
                </a:ext>
              </a:extLst>
            </p:cNvPr>
            <p:cNvSpPr/>
            <p:nvPr/>
          </p:nvSpPr>
          <p:spPr>
            <a:xfrm>
              <a:off x="42576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1" name="Freeform 680">
              <a:extLst>
                <a:ext uri="{FF2B5EF4-FFF2-40B4-BE49-F238E27FC236}">
                  <a16:creationId xmlns:a16="http://schemas.microsoft.com/office/drawing/2014/main" id="{B598FCAA-7153-8CB2-561E-BDEBD7F98A74}"/>
                </a:ext>
              </a:extLst>
            </p:cNvPr>
            <p:cNvSpPr/>
            <p:nvPr/>
          </p:nvSpPr>
          <p:spPr>
            <a:xfrm>
              <a:off x="42576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2" name="Freeform 681">
              <a:extLst>
                <a:ext uri="{FF2B5EF4-FFF2-40B4-BE49-F238E27FC236}">
                  <a16:creationId xmlns:a16="http://schemas.microsoft.com/office/drawing/2014/main" id="{C3BA51AB-F514-2221-7E4F-18E3B8BC6403}"/>
                </a:ext>
              </a:extLst>
            </p:cNvPr>
            <p:cNvSpPr/>
            <p:nvPr/>
          </p:nvSpPr>
          <p:spPr>
            <a:xfrm>
              <a:off x="42576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3" name="Freeform 682">
              <a:extLst>
                <a:ext uri="{FF2B5EF4-FFF2-40B4-BE49-F238E27FC236}">
                  <a16:creationId xmlns:a16="http://schemas.microsoft.com/office/drawing/2014/main" id="{91D3C5C3-3D27-9A9F-81EE-9D754BD5F418}"/>
                </a:ext>
              </a:extLst>
            </p:cNvPr>
            <p:cNvSpPr/>
            <p:nvPr/>
          </p:nvSpPr>
          <p:spPr>
            <a:xfrm>
              <a:off x="42576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4" name="Freeform 683">
              <a:extLst>
                <a:ext uri="{FF2B5EF4-FFF2-40B4-BE49-F238E27FC236}">
                  <a16:creationId xmlns:a16="http://schemas.microsoft.com/office/drawing/2014/main" id="{7CE618B9-C3B2-F085-D80E-D19360D28DD1}"/>
                </a:ext>
              </a:extLst>
            </p:cNvPr>
            <p:cNvSpPr/>
            <p:nvPr/>
          </p:nvSpPr>
          <p:spPr>
            <a:xfrm>
              <a:off x="42576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5" name="Freeform 684">
              <a:extLst>
                <a:ext uri="{FF2B5EF4-FFF2-40B4-BE49-F238E27FC236}">
                  <a16:creationId xmlns:a16="http://schemas.microsoft.com/office/drawing/2014/main" id="{AFF45122-4EDE-46F3-5789-354267CDAB6D}"/>
                </a:ext>
              </a:extLst>
            </p:cNvPr>
            <p:cNvSpPr/>
            <p:nvPr/>
          </p:nvSpPr>
          <p:spPr>
            <a:xfrm>
              <a:off x="42576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6" name="Freeform 685">
              <a:extLst>
                <a:ext uri="{FF2B5EF4-FFF2-40B4-BE49-F238E27FC236}">
                  <a16:creationId xmlns:a16="http://schemas.microsoft.com/office/drawing/2014/main" id="{5EB4B7F5-73D5-9B2F-A1F7-5786DD834D7E}"/>
                </a:ext>
              </a:extLst>
            </p:cNvPr>
            <p:cNvSpPr/>
            <p:nvPr/>
          </p:nvSpPr>
          <p:spPr>
            <a:xfrm>
              <a:off x="42576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7" name="Freeform 686">
              <a:extLst>
                <a:ext uri="{FF2B5EF4-FFF2-40B4-BE49-F238E27FC236}">
                  <a16:creationId xmlns:a16="http://schemas.microsoft.com/office/drawing/2014/main" id="{4FC87F99-9871-0D9D-AE21-3DE502C03C7A}"/>
                </a:ext>
              </a:extLst>
            </p:cNvPr>
            <p:cNvSpPr/>
            <p:nvPr/>
          </p:nvSpPr>
          <p:spPr>
            <a:xfrm>
              <a:off x="42576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8" name="Freeform 687">
              <a:extLst>
                <a:ext uri="{FF2B5EF4-FFF2-40B4-BE49-F238E27FC236}">
                  <a16:creationId xmlns:a16="http://schemas.microsoft.com/office/drawing/2014/main" id="{F99774C6-6641-BC95-8051-AF2FF9DCD90B}"/>
                </a:ext>
              </a:extLst>
            </p:cNvPr>
            <p:cNvSpPr/>
            <p:nvPr/>
          </p:nvSpPr>
          <p:spPr>
            <a:xfrm>
              <a:off x="425767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9" name="Freeform 688">
              <a:extLst>
                <a:ext uri="{FF2B5EF4-FFF2-40B4-BE49-F238E27FC236}">
                  <a16:creationId xmlns:a16="http://schemas.microsoft.com/office/drawing/2014/main" id="{6C5CA19D-B0C2-AD56-4D00-F7FC34383320}"/>
                </a:ext>
              </a:extLst>
            </p:cNvPr>
            <p:cNvSpPr/>
            <p:nvPr/>
          </p:nvSpPr>
          <p:spPr>
            <a:xfrm>
              <a:off x="42576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0" name="Freeform 689">
              <a:extLst>
                <a:ext uri="{FF2B5EF4-FFF2-40B4-BE49-F238E27FC236}">
                  <a16:creationId xmlns:a16="http://schemas.microsoft.com/office/drawing/2014/main" id="{16DA7CAC-537B-FE6B-A268-8D2A1773E24B}"/>
                </a:ext>
              </a:extLst>
            </p:cNvPr>
            <p:cNvSpPr/>
            <p:nvPr/>
          </p:nvSpPr>
          <p:spPr>
            <a:xfrm>
              <a:off x="425767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1" name="Freeform 690">
              <a:extLst>
                <a:ext uri="{FF2B5EF4-FFF2-40B4-BE49-F238E27FC236}">
                  <a16:creationId xmlns:a16="http://schemas.microsoft.com/office/drawing/2014/main" id="{1D85F46D-981E-4A9B-AFF0-F89CA271EBA3}"/>
                </a:ext>
              </a:extLst>
            </p:cNvPr>
            <p:cNvSpPr/>
            <p:nvPr/>
          </p:nvSpPr>
          <p:spPr>
            <a:xfrm>
              <a:off x="42576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2" name="Freeform 691">
              <a:extLst>
                <a:ext uri="{FF2B5EF4-FFF2-40B4-BE49-F238E27FC236}">
                  <a16:creationId xmlns:a16="http://schemas.microsoft.com/office/drawing/2014/main" id="{1BD7BDF4-479B-64CE-339B-DCAB2324B0F5}"/>
                </a:ext>
              </a:extLst>
            </p:cNvPr>
            <p:cNvSpPr/>
            <p:nvPr/>
          </p:nvSpPr>
          <p:spPr>
            <a:xfrm>
              <a:off x="43624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3" name="Freeform 692">
              <a:extLst>
                <a:ext uri="{FF2B5EF4-FFF2-40B4-BE49-F238E27FC236}">
                  <a16:creationId xmlns:a16="http://schemas.microsoft.com/office/drawing/2014/main" id="{5AB5A4C1-0896-BAD8-3098-932E5359302E}"/>
                </a:ext>
              </a:extLst>
            </p:cNvPr>
            <p:cNvSpPr/>
            <p:nvPr/>
          </p:nvSpPr>
          <p:spPr>
            <a:xfrm>
              <a:off x="43624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4" name="Freeform 693">
              <a:extLst>
                <a:ext uri="{FF2B5EF4-FFF2-40B4-BE49-F238E27FC236}">
                  <a16:creationId xmlns:a16="http://schemas.microsoft.com/office/drawing/2014/main" id="{CA02E0E7-55CB-9D06-ED3E-062182EC35BE}"/>
                </a:ext>
              </a:extLst>
            </p:cNvPr>
            <p:cNvSpPr/>
            <p:nvPr/>
          </p:nvSpPr>
          <p:spPr>
            <a:xfrm>
              <a:off x="43624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5" name="Freeform 694">
              <a:extLst>
                <a:ext uri="{FF2B5EF4-FFF2-40B4-BE49-F238E27FC236}">
                  <a16:creationId xmlns:a16="http://schemas.microsoft.com/office/drawing/2014/main" id="{7334B53A-A9B6-B6F1-FF60-C2305DCB3F14}"/>
                </a:ext>
              </a:extLst>
            </p:cNvPr>
            <p:cNvSpPr/>
            <p:nvPr/>
          </p:nvSpPr>
          <p:spPr>
            <a:xfrm>
              <a:off x="43624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6" name="Freeform 695">
              <a:extLst>
                <a:ext uri="{FF2B5EF4-FFF2-40B4-BE49-F238E27FC236}">
                  <a16:creationId xmlns:a16="http://schemas.microsoft.com/office/drawing/2014/main" id="{6EFD96C6-C842-F770-D58D-E05D37644611}"/>
                </a:ext>
              </a:extLst>
            </p:cNvPr>
            <p:cNvSpPr/>
            <p:nvPr/>
          </p:nvSpPr>
          <p:spPr>
            <a:xfrm>
              <a:off x="43624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7" name="Freeform 696">
              <a:extLst>
                <a:ext uri="{FF2B5EF4-FFF2-40B4-BE49-F238E27FC236}">
                  <a16:creationId xmlns:a16="http://schemas.microsoft.com/office/drawing/2014/main" id="{599789A8-0056-F145-3D9D-88AFF2ADF801}"/>
                </a:ext>
              </a:extLst>
            </p:cNvPr>
            <p:cNvSpPr/>
            <p:nvPr/>
          </p:nvSpPr>
          <p:spPr>
            <a:xfrm>
              <a:off x="43624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8" name="Freeform 697">
              <a:extLst>
                <a:ext uri="{FF2B5EF4-FFF2-40B4-BE49-F238E27FC236}">
                  <a16:creationId xmlns:a16="http://schemas.microsoft.com/office/drawing/2014/main" id="{C531B531-7B73-DBEF-F171-6D6089A2C511}"/>
                </a:ext>
              </a:extLst>
            </p:cNvPr>
            <p:cNvSpPr/>
            <p:nvPr/>
          </p:nvSpPr>
          <p:spPr>
            <a:xfrm>
              <a:off x="43624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9" name="Freeform 698">
              <a:extLst>
                <a:ext uri="{FF2B5EF4-FFF2-40B4-BE49-F238E27FC236}">
                  <a16:creationId xmlns:a16="http://schemas.microsoft.com/office/drawing/2014/main" id="{3D91C1EA-63A4-7E92-3BF1-B8CD89362BE9}"/>
                </a:ext>
              </a:extLst>
            </p:cNvPr>
            <p:cNvSpPr/>
            <p:nvPr/>
          </p:nvSpPr>
          <p:spPr>
            <a:xfrm>
              <a:off x="43624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0" name="Freeform 699">
              <a:extLst>
                <a:ext uri="{FF2B5EF4-FFF2-40B4-BE49-F238E27FC236}">
                  <a16:creationId xmlns:a16="http://schemas.microsoft.com/office/drawing/2014/main" id="{DB766E39-DC90-8679-E5B7-0899ADF1C8B8}"/>
                </a:ext>
              </a:extLst>
            </p:cNvPr>
            <p:cNvSpPr/>
            <p:nvPr/>
          </p:nvSpPr>
          <p:spPr>
            <a:xfrm>
              <a:off x="43624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1" name="Freeform 700">
              <a:extLst>
                <a:ext uri="{FF2B5EF4-FFF2-40B4-BE49-F238E27FC236}">
                  <a16:creationId xmlns:a16="http://schemas.microsoft.com/office/drawing/2014/main" id="{2D23B809-7229-000A-57E2-FFB3E713CBA5}"/>
                </a:ext>
              </a:extLst>
            </p:cNvPr>
            <p:cNvSpPr/>
            <p:nvPr/>
          </p:nvSpPr>
          <p:spPr>
            <a:xfrm>
              <a:off x="43624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2" name="Freeform 701">
              <a:extLst>
                <a:ext uri="{FF2B5EF4-FFF2-40B4-BE49-F238E27FC236}">
                  <a16:creationId xmlns:a16="http://schemas.microsoft.com/office/drawing/2014/main" id="{C9786896-3BEF-109D-F621-C513E8B127F8}"/>
                </a:ext>
              </a:extLst>
            </p:cNvPr>
            <p:cNvSpPr/>
            <p:nvPr/>
          </p:nvSpPr>
          <p:spPr>
            <a:xfrm>
              <a:off x="44672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3" name="Freeform 702">
              <a:extLst>
                <a:ext uri="{FF2B5EF4-FFF2-40B4-BE49-F238E27FC236}">
                  <a16:creationId xmlns:a16="http://schemas.microsoft.com/office/drawing/2014/main" id="{593D5D84-7159-890B-6F7B-30EEE1816FB2}"/>
                </a:ext>
              </a:extLst>
            </p:cNvPr>
            <p:cNvSpPr/>
            <p:nvPr/>
          </p:nvSpPr>
          <p:spPr>
            <a:xfrm>
              <a:off x="44672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4" name="Freeform 703">
              <a:extLst>
                <a:ext uri="{FF2B5EF4-FFF2-40B4-BE49-F238E27FC236}">
                  <a16:creationId xmlns:a16="http://schemas.microsoft.com/office/drawing/2014/main" id="{5F23FF36-5643-BA25-C788-23C8FB9D1BF1}"/>
                </a:ext>
              </a:extLst>
            </p:cNvPr>
            <p:cNvSpPr/>
            <p:nvPr/>
          </p:nvSpPr>
          <p:spPr>
            <a:xfrm>
              <a:off x="44672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5" name="Freeform 704">
              <a:extLst>
                <a:ext uri="{FF2B5EF4-FFF2-40B4-BE49-F238E27FC236}">
                  <a16:creationId xmlns:a16="http://schemas.microsoft.com/office/drawing/2014/main" id="{FF9C0403-E0CB-03FC-EABE-7CAD344F7A8E}"/>
                </a:ext>
              </a:extLst>
            </p:cNvPr>
            <p:cNvSpPr/>
            <p:nvPr/>
          </p:nvSpPr>
          <p:spPr>
            <a:xfrm>
              <a:off x="44672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6" name="Freeform 705">
              <a:extLst>
                <a:ext uri="{FF2B5EF4-FFF2-40B4-BE49-F238E27FC236}">
                  <a16:creationId xmlns:a16="http://schemas.microsoft.com/office/drawing/2014/main" id="{9637DEB4-1A18-B41D-67FB-68C175155043}"/>
                </a:ext>
              </a:extLst>
            </p:cNvPr>
            <p:cNvSpPr/>
            <p:nvPr/>
          </p:nvSpPr>
          <p:spPr>
            <a:xfrm>
              <a:off x="44672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3BD7430D-E0DD-B596-5181-35A09FE0FD95}"/>
                </a:ext>
              </a:extLst>
            </p:cNvPr>
            <p:cNvSpPr/>
            <p:nvPr/>
          </p:nvSpPr>
          <p:spPr>
            <a:xfrm>
              <a:off x="44672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A50FC9C7-07EE-DB63-06A7-1363D89CF7B7}"/>
                </a:ext>
              </a:extLst>
            </p:cNvPr>
            <p:cNvSpPr/>
            <p:nvPr/>
          </p:nvSpPr>
          <p:spPr>
            <a:xfrm>
              <a:off x="44672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A4E887CF-3EE4-9244-F321-C4F9C0EBF6C3}"/>
                </a:ext>
              </a:extLst>
            </p:cNvPr>
            <p:cNvSpPr/>
            <p:nvPr/>
          </p:nvSpPr>
          <p:spPr>
            <a:xfrm>
              <a:off x="44672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462667D4-CAE7-274C-DC02-2E51FF6C8B0C}"/>
                </a:ext>
              </a:extLst>
            </p:cNvPr>
            <p:cNvSpPr/>
            <p:nvPr/>
          </p:nvSpPr>
          <p:spPr>
            <a:xfrm>
              <a:off x="44672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857CCD6E-DB73-973A-DAE1-A283C76E17D5}"/>
                </a:ext>
              </a:extLst>
            </p:cNvPr>
            <p:cNvSpPr/>
            <p:nvPr/>
          </p:nvSpPr>
          <p:spPr>
            <a:xfrm>
              <a:off x="44672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2" name="Freeform 711">
              <a:extLst>
                <a:ext uri="{FF2B5EF4-FFF2-40B4-BE49-F238E27FC236}">
                  <a16:creationId xmlns:a16="http://schemas.microsoft.com/office/drawing/2014/main" id="{CB3CC791-39AC-DE63-D1E0-75E22D8A10FB}"/>
                </a:ext>
              </a:extLst>
            </p:cNvPr>
            <p:cNvSpPr/>
            <p:nvPr/>
          </p:nvSpPr>
          <p:spPr>
            <a:xfrm>
              <a:off x="44672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9EDE1D59-F396-F32C-D829-5270AAC5A5F5}"/>
                </a:ext>
              </a:extLst>
            </p:cNvPr>
            <p:cNvSpPr/>
            <p:nvPr/>
          </p:nvSpPr>
          <p:spPr>
            <a:xfrm>
              <a:off x="44672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D2F6881-C72A-9C5C-099C-C473AF7C5BBE}"/>
                </a:ext>
              </a:extLst>
            </p:cNvPr>
            <p:cNvSpPr/>
            <p:nvPr/>
          </p:nvSpPr>
          <p:spPr>
            <a:xfrm>
              <a:off x="44672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B4677C2A-7C00-5E1C-998C-EA3B6CCC4685}"/>
                </a:ext>
              </a:extLst>
            </p:cNvPr>
            <p:cNvSpPr/>
            <p:nvPr/>
          </p:nvSpPr>
          <p:spPr>
            <a:xfrm>
              <a:off x="44672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9ADEE90-88FF-2E4E-0328-D2EF1F058EE1}"/>
                </a:ext>
              </a:extLst>
            </p:cNvPr>
            <p:cNvSpPr/>
            <p:nvPr/>
          </p:nvSpPr>
          <p:spPr>
            <a:xfrm>
              <a:off x="45720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32DA7A06-B0FD-C5A2-EA19-032D32911BEA}"/>
                </a:ext>
              </a:extLst>
            </p:cNvPr>
            <p:cNvSpPr/>
            <p:nvPr/>
          </p:nvSpPr>
          <p:spPr>
            <a:xfrm>
              <a:off x="45720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8" name="Freeform 717">
              <a:extLst>
                <a:ext uri="{FF2B5EF4-FFF2-40B4-BE49-F238E27FC236}">
                  <a16:creationId xmlns:a16="http://schemas.microsoft.com/office/drawing/2014/main" id="{19F0CD1B-254F-0B66-83E9-1FC04BDF255E}"/>
                </a:ext>
              </a:extLst>
            </p:cNvPr>
            <p:cNvSpPr/>
            <p:nvPr/>
          </p:nvSpPr>
          <p:spPr>
            <a:xfrm>
              <a:off x="45720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9" name="Freeform 718">
              <a:extLst>
                <a:ext uri="{FF2B5EF4-FFF2-40B4-BE49-F238E27FC236}">
                  <a16:creationId xmlns:a16="http://schemas.microsoft.com/office/drawing/2014/main" id="{30CD2F9A-0263-EBB9-4C7F-46E8B56E268F}"/>
                </a:ext>
              </a:extLst>
            </p:cNvPr>
            <p:cNvSpPr/>
            <p:nvPr/>
          </p:nvSpPr>
          <p:spPr>
            <a:xfrm>
              <a:off x="45720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0" name="Freeform 719">
              <a:extLst>
                <a:ext uri="{FF2B5EF4-FFF2-40B4-BE49-F238E27FC236}">
                  <a16:creationId xmlns:a16="http://schemas.microsoft.com/office/drawing/2014/main" id="{584567C0-0DE2-A032-8412-65ACA4D62A9B}"/>
                </a:ext>
              </a:extLst>
            </p:cNvPr>
            <p:cNvSpPr/>
            <p:nvPr/>
          </p:nvSpPr>
          <p:spPr>
            <a:xfrm>
              <a:off x="45720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1" name="Freeform 720">
              <a:extLst>
                <a:ext uri="{FF2B5EF4-FFF2-40B4-BE49-F238E27FC236}">
                  <a16:creationId xmlns:a16="http://schemas.microsoft.com/office/drawing/2014/main" id="{B6EE382F-174D-994A-144C-729978018FB1}"/>
                </a:ext>
              </a:extLst>
            </p:cNvPr>
            <p:cNvSpPr/>
            <p:nvPr/>
          </p:nvSpPr>
          <p:spPr>
            <a:xfrm>
              <a:off x="45720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2" name="Freeform 721">
              <a:extLst>
                <a:ext uri="{FF2B5EF4-FFF2-40B4-BE49-F238E27FC236}">
                  <a16:creationId xmlns:a16="http://schemas.microsoft.com/office/drawing/2014/main" id="{A2B2D837-9659-8EF8-56B6-07DD13A41882}"/>
                </a:ext>
              </a:extLst>
            </p:cNvPr>
            <p:cNvSpPr/>
            <p:nvPr/>
          </p:nvSpPr>
          <p:spPr>
            <a:xfrm>
              <a:off x="45720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3" name="Freeform 722">
              <a:extLst>
                <a:ext uri="{FF2B5EF4-FFF2-40B4-BE49-F238E27FC236}">
                  <a16:creationId xmlns:a16="http://schemas.microsoft.com/office/drawing/2014/main" id="{CD21BD5B-D67B-F336-A518-9C0650DC4EBC}"/>
                </a:ext>
              </a:extLst>
            </p:cNvPr>
            <p:cNvSpPr/>
            <p:nvPr/>
          </p:nvSpPr>
          <p:spPr>
            <a:xfrm>
              <a:off x="45720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4" name="Freeform 723">
              <a:extLst>
                <a:ext uri="{FF2B5EF4-FFF2-40B4-BE49-F238E27FC236}">
                  <a16:creationId xmlns:a16="http://schemas.microsoft.com/office/drawing/2014/main" id="{B3BE8D49-EF68-8C22-0A56-72EC9CDB4C68}"/>
                </a:ext>
              </a:extLst>
            </p:cNvPr>
            <p:cNvSpPr/>
            <p:nvPr/>
          </p:nvSpPr>
          <p:spPr>
            <a:xfrm>
              <a:off x="45720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5" name="Freeform 724">
              <a:extLst>
                <a:ext uri="{FF2B5EF4-FFF2-40B4-BE49-F238E27FC236}">
                  <a16:creationId xmlns:a16="http://schemas.microsoft.com/office/drawing/2014/main" id="{22C6200C-F376-A77A-8047-B287A3CBA6A1}"/>
                </a:ext>
              </a:extLst>
            </p:cNvPr>
            <p:cNvSpPr/>
            <p:nvPr/>
          </p:nvSpPr>
          <p:spPr>
            <a:xfrm>
              <a:off x="45720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6" name="Freeform 725">
              <a:extLst>
                <a:ext uri="{FF2B5EF4-FFF2-40B4-BE49-F238E27FC236}">
                  <a16:creationId xmlns:a16="http://schemas.microsoft.com/office/drawing/2014/main" id="{ABAB7051-A3CC-AC45-AF68-78E4396840C2}"/>
                </a:ext>
              </a:extLst>
            </p:cNvPr>
            <p:cNvSpPr/>
            <p:nvPr/>
          </p:nvSpPr>
          <p:spPr>
            <a:xfrm>
              <a:off x="45720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7" name="Freeform 726">
              <a:extLst>
                <a:ext uri="{FF2B5EF4-FFF2-40B4-BE49-F238E27FC236}">
                  <a16:creationId xmlns:a16="http://schemas.microsoft.com/office/drawing/2014/main" id="{9E3F2818-A0C5-2D01-3C1A-F2B5C01C0A79}"/>
                </a:ext>
              </a:extLst>
            </p:cNvPr>
            <p:cNvSpPr/>
            <p:nvPr/>
          </p:nvSpPr>
          <p:spPr>
            <a:xfrm>
              <a:off x="45720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8" name="Freeform 727">
              <a:extLst>
                <a:ext uri="{FF2B5EF4-FFF2-40B4-BE49-F238E27FC236}">
                  <a16:creationId xmlns:a16="http://schemas.microsoft.com/office/drawing/2014/main" id="{6424022D-7478-05C8-279A-E14E6CABEA5B}"/>
                </a:ext>
              </a:extLst>
            </p:cNvPr>
            <p:cNvSpPr/>
            <p:nvPr/>
          </p:nvSpPr>
          <p:spPr>
            <a:xfrm>
              <a:off x="45720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9" name="Freeform 728">
              <a:extLst>
                <a:ext uri="{FF2B5EF4-FFF2-40B4-BE49-F238E27FC236}">
                  <a16:creationId xmlns:a16="http://schemas.microsoft.com/office/drawing/2014/main" id="{E184E243-AA7B-DDDD-806E-4A64BD3DBD9C}"/>
                </a:ext>
              </a:extLst>
            </p:cNvPr>
            <p:cNvSpPr/>
            <p:nvPr/>
          </p:nvSpPr>
          <p:spPr>
            <a:xfrm>
              <a:off x="46767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0" name="Freeform 729">
              <a:extLst>
                <a:ext uri="{FF2B5EF4-FFF2-40B4-BE49-F238E27FC236}">
                  <a16:creationId xmlns:a16="http://schemas.microsoft.com/office/drawing/2014/main" id="{57404785-5DAF-940F-7284-7B816523B6FF}"/>
                </a:ext>
              </a:extLst>
            </p:cNvPr>
            <p:cNvSpPr/>
            <p:nvPr/>
          </p:nvSpPr>
          <p:spPr>
            <a:xfrm>
              <a:off x="46767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1" name="Freeform 730">
              <a:extLst>
                <a:ext uri="{FF2B5EF4-FFF2-40B4-BE49-F238E27FC236}">
                  <a16:creationId xmlns:a16="http://schemas.microsoft.com/office/drawing/2014/main" id="{0AF5924F-DEFA-4678-36C3-5B87614C3960}"/>
                </a:ext>
              </a:extLst>
            </p:cNvPr>
            <p:cNvSpPr/>
            <p:nvPr/>
          </p:nvSpPr>
          <p:spPr>
            <a:xfrm>
              <a:off x="46767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2" name="Freeform 731">
              <a:extLst>
                <a:ext uri="{FF2B5EF4-FFF2-40B4-BE49-F238E27FC236}">
                  <a16:creationId xmlns:a16="http://schemas.microsoft.com/office/drawing/2014/main" id="{46C6ED03-9F29-9922-B0EF-41F490681C41}"/>
                </a:ext>
              </a:extLst>
            </p:cNvPr>
            <p:cNvSpPr/>
            <p:nvPr/>
          </p:nvSpPr>
          <p:spPr>
            <a:xfrm>
              <a:off x="46767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3" name="Freeform 732">
              <a:extLst>
                <a:ext uri="{FF2B5EF4-FFF2-40B4-BE49-F238E27FC236}">
                  <a16:creationId xmlns:a16="http://schemas.microsoft.com/office/drawing/2014/main" id="{490DF3EC-2D02-FF7D-A8A0-B6B187E2EFF5}"/>
                </a:ext>
              </a:extLst>
            </p:cNvPr>
            <p:cNvSpPr/>
            <p:nvPr/>
          </p:nvSpPr>
          <p:spPr>
            <a:xfrm>
              <a:off x="46767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4" name="Freeform 733">
              <a:extLst>
                <a:ext uri="{FF2B5EF4-FFF2-40B4-BE49-F238E27FC236}">
                  <a16:creationId xmlns:a16="http://schemas.microsoft.com/office/drawing/2014/main" id="{53AA961D-E454-5DE7-E12E-9F889DF763E6}"/>
                </a:ext>
              </a:extLst>
            </p:cNvPr>
            <p:cNvSpPr/>
            <p:nvPr/>
          </p:nvSpPr>
          <p:spPr>
            <a:xfrm>
              <a:off x="46767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5" name="Freeform 734">
              <a:extLst>
                <a:ext uri="{FF2B5EF4-FFF2-40B4-BE49-F238E27FC236}">
                  <a16:creationId xmlns:a16="http://schemas.microsoft.com/office/drawing/2014/main" id="{23F763FF-5E4D-03DF-CA4E-8B6AA96161F5}"/>
                </a:ext>
              </a:extLst>
            </p:cNvPr>
            <p:cNvSpPr/>
            <p:nvPr/>
          </p:nvSpPr>
          <p:spPr>
            <a:xfrm>
              <a:off x="46767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6" name="Freeform 735">
              <a:extLst>
                <a:ext uri="{FF2B5EF4-FFF2-40B4-BE49-F238E27FC236}">
                  <a16:creationId xmlns:a16="http://schemas.microsoft.com/office/drawing/2014/main" id="{9D1B00D6-A078-A647-EC63-AD6898005556}"/>
                </a:ext>
              </a:extLst>
            </p:cNvPr>
            <p:cNvSpPr/>
            <p:nvPr/>
          </p:nvSpPr>
          <p:spPr>
            <a:xfrm>
              <a:off x="46767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7" name="Freeform 736">
              <a:extLst>
                <a:ext uri="{FF2B5EF4-FFF2-40B4-BE49-F238E27FC236}">
                  <a16:creationId xmlns:a16="http://schemas.microsoft.com/office/drawing/2014/main" id="{9C1A1C7B-03BA-5394-2D32-3F5B000F24B4}"/>
                </a:ext>
              </a:extLst>
            </p:cNvPr>
            <p:cNvSpPr/>
            <p:nvPr/>
          </p:nvSpPr>
          <p:spPr>
            <a:xfrm>
              <a:off x="46767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8" name="Freeform 737">
              <a:extLst>
                <a:ext uri="{FF2B5EF4-FFF2-40B4-BE49-F238E27FC236}">
                  <a16:creationId xmlns:a16="http://schemas.microsoft.com/office/drawing/2014/main" id="{1AA3D127-C5A3-8C9A-94C4-2EB9DCC0A0A0}"/>
                </a:ext>
              </a:extLst>
            </p:cNvPr>
            <p:cNvSpPr/>
            <p:nvPr/>
          </p:nvSpPr>
          <p:spPr>
            <a:xfrm>
              <a:off x="46767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9" name="Freeform 738">
              <a:extLst>
                <a:ext uri="{FF2B5EF4-FFF2-40B4-BE49-F238E27FC236}">
                  <a16:creationId xmlns:a16="http://schemas.microsoft.com/office/drawing/2014/main" id="{DF436693-19C2-C11F-F814-9EAE636E4F9F}"/>
                </a:ext>
              </a:extLst>
            </p:cNvPr>
            <p:cNvSpPr/>
            <p:nvPr/>
          </p:nvSpPr>
          <p:spPr>
            <a:xfrm>
              <a:off x="47815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0" name="Freeform 739">
              <a:extLst>
                <a:ext uri="{FF2B5EF4-FFF2-40B4-BE49-F238E27FC236}">
                  <a16:creationId xmlns:a16="http://schemas.microsoft.com/office/drawing/2014/main" id="{D7C1C009-A2E4-E616-9CCB-5A38B86851BC}"/>
                </a:ext>
              </a:extLst>
            </p:cNvPr>
            <p:cNvSpPr/>
            <p:nvPr/>
          </p:nvSpPr>
          <p:spPr>
            <a:xfrm>
              <a:off x="47815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1" name="Freeform 740">
              <a:extLst>
                <a:ext uri="{FF2B5EF4-FFF2-40B4-BE49-F238E27FC236}">
                  <a16:creationId xmlns:a16="http://schemas.microsoft.com/office/drawing/2014/main" id="{C772FF5B-0317-22D9-9023-3EF161BB60D9}"/>
                </a:ext>
              </a:extLst>
            </p:cNvPr>
            <p:cNvSpPr/>
            <p:nvPr/>
          </p:nvSpPr>
          <p:spPr>
            <a:xfrm>
              <a:off x="47815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2" name="Freeform 741">
              <a:extLst>
                <a:ext uri="{FF2B5EF4-FFF2-40B4-BE49-F238E27FC236}">
                  <a16:creationId xmlns:a16="http://schemas.microsoft.com/office/drawing/2014/main" id="{5D220CA4-0E69-9A40-EE48-E87A50CFBD01}"/>
                </a:ext>
              </a:extLst>
            </p:cNvPr>
            <p:cNvSpPr/>
            <p:nvPr/>
          </p:nvSpPr>
          <p:spPr>
            <a:xfrm>
              <a:off x="47815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3" name="Freeform 742">
              <a:extLst>
                <a:ext uri="{FF2B5EF4-FFF2-40B4-BE49-F238E27FC236}">
                  <a16:creationId xmlns:a16="http://schemas.microsoft.com/office/drawing/2014/main" id="{EF7671C4-59C7-40B6-6E1E-D070926CBC3A}"/>
                </a:ext>
              </a:extLst>
            </p:cNvPr>
            <p:cNvSpPr/>
            <p:nvPr/>
          </p:nvSpPr>
          <p:spPr>
            <a:xfrm>
              <a:off x="47815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4" name="Freeform 743">
              <a:extLst>
                <a:ext uri="{FF2B5EF4-FFF2-40B4-BE49-F238E27FC236}">
                  <a16:creationId xmlns:a16="http://schemas.microsoft.com/office/drawing/2014/main" id="{422BE517-9993-85A5-FEC8-4982A87FA704}"/>
                </a:ext>
              </a:extLst>
            </p:cNvPr>
            <p:cNvSpPr/>
            <p:nvPr/>
          </p:nvSpPr>
          <p:spPr>
            <a:xfrm>
              <a:off x="47815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5" name="Freeform 744">
              <a:extLst>
                <a:ext uri="{FF2B5EF4-FFF2-40B4-BE49-F238E27FC236}">
                  <a16:creationId xmlns:a16="http://schemas.microsoft.com/office/drawing/2014/main" id="{918E35E5-43E5-2B5F-332E-37925A7AD54B}"/>
                </a:ext>
              </a:extLst>
            </p:cNvPr>
            <p:cNvSpPr/>
            <p:nvPr/>
          </p:nvSpPr>
          <p:spPr>
            <a:xfrm>
              <a:off x="47815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6" name="Freeform 745">
              <a:extLst>
                <a:ext uri="{FF2B5EF4-FFF2-40B4-BE49-F238E27FC236}">
                  <a16:creationId xmlns:a16="http://schemas.microsoft.com/office/drawing/2014/main" id="{76AE07F9-38FB-12FA-72F3-D751284561C5}"/>
                </a:ext>
              </a:extLst>
            </p:cNvPr>
            <p:cNvSpPr/>
            <p:nvPr/>
          </p:nvSpPr>
          <p:spPr>
            <a:xfrm>
              <a:off x="47815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7" name="Freeform 746">
              <a:extLst>
                <a:ext uri="{FF2B5EF4-FFF2-40B4-BE49-F238E27FC236}">
                  <a16:creationId xmlns:a16="http://schemas.microsoft.com/office/drawing/2014/main" id="{BA2DF779-73A9-9B43-05F6-084965EC786E}"/>
                </a:ext>
              </a:extLst>
            </p:cNvPr>
            <p:cNvSpPr/>
            <p:nvPr/>
          </p:nvSpPr>
          <p:spPr>
            <a:xfrm>
              <a:off x="47815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8" name="Freeform 747">
              <a:extLst>
                <a:ext uri="{FF2B5EF4-FFF2-40B4-BE49-F238E27FC236}">
                  <a16:creationId xmlns:a16="http://schemas.microsoft.com/office/drawing/2014/main" id="{B43CA7B5-D037-1737-944E-5A25406B3694}"/>
                </a:ext>
              </a:extLst>
            </p:cNvPr>
            <p:cNvSpPr/>
            <p:nvPr/>
          </p:nvSpPr>
          <p:spPr>
            <a:xfrm>
              <a:off x="47815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9" name="Freeform 748">
              <a:extLst>
                <a:ext uri="{FF2B5EF4-FFF2-40B4-BE49-F238E27FC236}">
                  <a16:creationId xmlns:a16="http://schemas.microsoft.com/office/drawing/2014/main" id="{535EC94F-BE7A-E99D-72CB-40156AD2684D}"/>
                </a:ext>
              </a:extLst>
            </p:cNvPr>
            <p:cNvSpPr/>
            <p:nvPr/>
          </p:nvSpPr>
          <p:spPr>
            <a:xfrm>
              <a:off x="47815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0" name="Freeform 749">
              <a:extLst>
                <a:ext uri="{FF2B5EF4-FFF2-40B4-BE49-F238E27FC236}">
                  <a16:creationId xmlns:a16="http://schemas.microsoft.com/office/drawing/2014/main" id="{40AC7689-E369-55CC-68E5-6CFF2CD898CC}"/>
                </a:ext>
              </a:extLst>
            </p:cNvPr>
            <p:cNvSpPr/>
            <p:nvPr/>
          </p:nvSpPr>
          <p:spPr>
            <a:xfrm>
              <a:off x="47815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1" name="Freeform 750">
              <a:extLst>
                <a:ext uri="{FF2B5EF4-FFF2-40B4-BE49-F238E27FC236}">
                  <a16:creationId xmlns:a16="http://schemas.microsoft.com/office/drawing/2014/main" id="{E94A179F-BEF6-5ED8-37A0-D7F302B474A2}"/>
                </a:ext>
              </a:extLst>
            </p:cNvPr>
            <p:cNvSpPr/>
            <p:nvPr/>
          </p:nvSpPr>
          <p:spPr>
            <a:xfrm>
              <a:off x="47815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2" name="Freeform 751">
              <a:extLst>
                <a:ext uri="{FF2B5EF4-FFF2-40B4-BE49-F238E27FC236}">
                  <a16:creationId xmlns:a16="http://schemas.microsoft.com/office/drawing/2014/main" id="{915574C9-F3A1-F4ED-6B1E-B146BB32C7BD}"/>
                </a:ext>
              </a:extLst>
            </p:cNvPr>
            <p:cNvSpPr/>
            <p:nvPr/>
          </p:nvSpPr>
          <p:spPr>
            <a:xfrm>
              <a:off x="47815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3" name="Freeform 752">
              <a:extLst>
                <a:ext uri="{FF2B5EF4-FFF2-40B4-BE49-F238E27FC236}">
                  <a16:creationId xmlns:a16="http://schemas.microsoft.com/office/drawing/2014/main" id="{421EA54E-4C32-38E4-5117-A743B2F77C13}"/>
                </a:ext>
              </a:extLst>
            </p:cNvPr>
            <p:cNvSpPr/>
            <p:nvPr/>
          </p:nvSpPr>
          <p:spPr>
            <a:xfrm>
              <a:off x="47815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4" name="Freeform 753">
              <a:extLst>
                <a:ext uri="{FF2B5EF4-FFF2-40B4-BE49-F238E27FC236}">
                  <a16:creationId xmlns:a16="http://schemas.microsoft.com/office/drawing/2014/main" id="{AE25F532-287C-441F-897A-34E518B4F947}"/>
                </a:ext>
              </a:extLst>
            </p:cNvPr>
            <p:cNvSpPr/>
            <p:nvPr/>
          </p:nvSpPr>
          <p:spPr>
            <a:xfrm>
              <a:off x="47815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5" name="Freeform 754">
              <a:extLst>
                <a:ext uri="{FF2B5EF4-FFF2-40B4-BE49-F238E27FC236}">
                  <a16:creationId xmlns:a16="http://schemas.microsoft.com/office/drawing/2014/main" id="{8BACDC10-081F-1D16-7253-85203AC7F740}"/>
                </a:ext>
              </a:extLst>
            </p:cNvPr>
            <p:cNvSpPr/>
            <p:nvPr/>
          </p:nvSpPr>
          <p:spPr>
            <a:xfrm>
              <a:off x="47815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6" name="Freeform 755">
              <a:extLst>
                <a:ext uri="{FF2B5EF4-FFF2-40B4-BE49-F238E27FC236}">
                  <a16:creationId xmlns:a16="http://schemas.microsoft.com/office/drawing/2014/main" id="{F3724FE0-0F00-98B5-72B6-592B74135EB7}"/>
                </a:ext>
              </a:extLst>
            </p:cNvPr>
            <p:cNvSpPr/>
            <p:nvPr/>
          </p:nvSpPr>
          <p:spPr>
            <a:xfrm>
              <a:off x="47815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7" name="Freeform 756">
              <a:extLst>
                <a:ext uri="{FF2B5EF4-FFF2-40B4-BE49-F238E27FC236}">
                  <a16:creationId xmlns:a16="http://schemas.microsoft.com/office/drawing/2014/main" id="{2C9EC517-383C-317E-2AD5-5FAA6C778743}"/>
                </a:ext>
              </a:extLst>
            </p:cNvPr>
            <p:cNvSpPr/>
            <p:nvPr/>
          </p:nvSpPr>
          <p:spPr>
            <a:xfrm>
              <a:off x="47815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8" name="Freeform 757">
              <a:extLst>
                <a:ext uri="{FF2B5EF4-FFF2-40B4-BE49-F238E27FC236}">
                  <a16:creationId xmlns:a16="http://schemas.microsoft.com/office/drawing/2014/main" id="{8DFDC683-4347-2FC2-60BD-6E71F14BFCB7}"/>
                </a:ext>
              </a:extLst>
            </p:cNvPr>
            <p:cNvSpPr/>
            <p:nvPr/>
          </p:nvSpPr>
          <p:spPr>
            <a:xfrm>
              <a:off x="47815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9" name="Freeform 758">
              <a:extLst>
                <a:ext uri="{FF2B5EF4-FFF2-40B4-BE49-F238E27FC236}">
                  <a16:creationId xmlns:a16="http://schemas.microsoft.com/office/drawing/2014/main" id="{91A55F77-3B92-505C-DFDC-D249E42B4E5C}"/>
                </a:ext>
              </a:extLst>
            </p:cNvPr>
            <p:cNvSpPr/>
            <p:nvPr/>
          </p:nvSpPr>
          <p:spPr>
            <a:xfrm>
              <a:off x="47815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0" name="Freeform 759">
              <a:extLst>
                <a:ext uri="{FF2B5EF4-FFF2-40B4-BE49-F238E27FC236}">
                  <a16:creationId xmlns:a16="http://schemas.microsoft.com/office/drawing/2014/main" id="{A2DEF073-1F7C-7625-097A-53C01CEDE4C0}"/>
                </a:ext>
              </a:extLst>
            </p:cNvPr>
            <p:cNvSpPr/>
            <p:nvPr/>
          </p:nvSpPr>
          <p:spPr>
            <a:xfrm>
              <a:off x="47815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1" name="Freeform 760">
              <a:extLst>
                <a:ext uri="{FF2B5EF4-FFF2-40B4-BE49-F238E27FC236}">
                  <a16:creationId xmlns:a16="http://schemas.microsoft.com/office/drawing/2014/main" id="{5FD9FF31-87F8-07D2-CEE6-CDA03E1307C1}"/>
                </a:ext>
              </a:extLst>
            </p:cNvPr>
            <p:cNvSpPr/>
            <p:nvPr/>
          </p:nvSpPr>
          <p:spPr>
            <a:xfrm>
              <a:off x="47815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2" name="Freeform 761">
              <a:extLst>
                <a:ext uri="{FF2B5EF4-FFF2-40B4-BE49-F238E27FC236}">
                  <a16:creationId xmlns:a16="http://schemas.microsoft.com/office/drawing/2014/main" id="{E4062E15-69C4-69AE-FFAB-4A78BE34A560}"/>
                </a:ext>
              </a:extLst>
            </p:cNvPr>
            <p:cNvSpPr/>
            <p:nvPr/>
          </p:nvSpPr>
          <p:spPr>
            <a:xfrm>
              <a:off x="47815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3" name="Freeform 762">
              <a:extLst>
                <a:ext uri="{FF2B5EF4-FFF2-40B4-BE49-F238E27FC236}">
                  <a16:creationId xmlns:a16="http://schemas.microsoft.com/office/drawing/2014/main" id="{B44882AA-D90E-435B-AFAE-0985AF06D838}"/>
                </a:ext>
              </a:extLst>
            </p:cNvPr>
            <p:cNvSpPr/>
            <p:nvPr/>
          </p:nvSpPr>
          <p:spPr>
            <a:xfrm>
              <a:off x="48863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4" name="Freeform 763">
              <a:extLst>
                <a:ext uri="{FF2B5EF4-FFF2-40B4-BE49-F238E27FC236}">
                  <a16:creationId xmlns:a16="http://schemas.microsoft.com/office/drawing/2014/main" id="{6B8C8EC4-5C83-2599-BE4F-6B55FE36847E}"/>
                </a:ext>
              </a:extLst>
            </p:cNvPr>
            <p:cNvSpPr/>
            <p:nvPr/>
          </p:nvSpPr>
          <p:spPr>
            <a:xfrm>
              <a:off x="48863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5" name="Freeform 764">
              <a:extLst>
                <a:ext uri="{FF2B5EF4-FFF2-40B4-BE49-F238E27FC236}">
                  <a16:creationId xmlns:a16="http://schemas.microsoft.com/office/drawing/2014/main" id="{FA8B5608-89FB-78E0-CA00-9ADAD89D2232}"/>
                </a:ext>
              </a:extLst>
            </p:cNvPr>
            <p:cNvSpPr/>
            <p:nvPr/>
          </p:nvSpPr>
          <p:spPr>
            <a:xfrm>
              <a:off x="48863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6" name="Freeform 765">
              <a:extLst>
                <a:ext uri="{FF2B5EF4-FFF2-40B4-BE49-F238E27FC236}">
                  <a16:creationId xmlns:a16="http://schemas.microsoft.com/office/drawing/2014/main" id="{B0BBE2B2-5E7D-F98E-47C6-A9BB7E921372}"/>
                </a:ext>
              </a:extLst>
            </p:cNvPr>
            <p:cNvSpPr/>
            <p:nvPr/>
          </p:nvSpPr>
          <p:spPr>
            <a:xfrm>
              <a:off x="48863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7" name="Freeform 766">
              <a:extLst>
                <a:ext uri="{FF2B5EF4-FFF2-40B4-BE49-F238E27FC236}">
                  <a16:creationId xmlns:a16="http://schemas.microsoft.com/office/drawing/2014/main" id="{DF3BD7BC-3D95-6466-250B-7A57B50307F0}"/>
                </a:ext>
              </a:extLst>
            </p:cNvPr>
            <p:cNvSpPr/>
            <p:nvPr/>
          </p:nvSpPr>
          <p:spPr>
            <a:xfrm>
              <a:off x="48863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8" name="Freeform 767">
              <a:extLst>
                <a:ext uri="{FF2B5EF4-FFF2-40B4-BE49-F238E27FC236}">
                  <a16:creationId xmlns:a16="http://schemas.microsoft.com/office/drawing/2014/main" id="{FEE6D1DB-0F74-FB04-CF09-191184F1B6F3}"/>
                </a:ext>
              </a:extLst>
            </p:cNvPr>
            <p:cNvSpPr/>
            <p:nvPr/>
          </p:nvSpPr>
          <p:spPr>
            <a:xfrm>
              <a:off x="48863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9" name="Freeform 768">
              <a:extLst>
                <a:ext uri="{FF2B5EF4-FFF2-40B4-BE49-F238E27FC236}">
                  <a16:creationId xmlns:a16="http://schemas.microsoft.com/office/drawing/2014/main" id="{BEBADA9C-F30A-77C5-F7AA-77A5546D9871}"/>
                </a:ext>
              </a:extLst>
            </p:cNvPr>
            <p:cNvSpPr/>
            <p:nvPr/>
          </p:nvSpPr>
          <p:spPr>
            <a:xfrm>
              <a:off x="48863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0" name="Freeform 769">
              <a:extLst>
                <a:ext uri="{FF2B5EF4-FFF2-40B4-BE49-F238E27FC236}">
                  <a16:creationId xmlns:a16="http://schemas.microsoft.com/office/drawing/2014/main" id="{376CDBBE-8435-D4A3-DE77-0A2E9D6278E9}"/>
                </a:ext>
              </a:extLst>
            </p:cNvPr>
            <p:cNvSpPr/>
            <p:nvPr/>
          </p:nvSpPr>
          <p:spPr>
            <a:xfrm>
              <a:off x="48863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1" name="Freeform 770">
              <a:extLst>
                <a:ext uri="{FF2B5EF4-FFF2-40B4-BE49-F238E27FC236}">
                  <a16:creationId xmlns:a16="http://schemas.microsoft.com/office/drawing/2014/main" id="{6EF69567-91C0-67EE-F3BF-2B9AC3A0E0AC}"/>
                </a:ext>
              </a:extLst>
            </p:cNvPr>
            <p:cNvSpPr/>
            <p:nvPr/>
          </p:nvSpPr>
          <p:spPr>
            <a:xfrm>
              <a:off x="48863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2" name="Freeform 771">
              <a:extLst>
                <a:ext uri="{FF2B5EF4-FFF2-40B4-BE49-F238E27FC236}">
                  <a16:creationId xmlns:a16="http://schemas.microsoft.com/office/drawing/2014/main" id="{FF3E66BF-0D25-7C51-E071-8BDB144774BE}"/>
                </a:ext>
              </a:extLst>
            </p:cNvPr>
            <p:cNvSpPr/>
            <p:nvPr/>
          </p:nvSpPr>
          <p:spPr>
            <a:xfrm>
              <a:off x="48863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3" name="Freeform 772">
              <a:extLst>
                <a:ext uri="{FF2B5EF4-FFF2-40B4-BE49-F238E27FC236}">
                  <a16:creationId xmlns:a16="http://schemas.microsoft.com/office/drawing/2014/main" id="{078A74AA-DB47-52BD-4315-0CB5E7FC2EEC}"/>
                </a:ext>
              </a:extLst>
            </p:cNvPr>
            <p:cNvSpPr/>
            <p:nvPr/>
          </p:nvSpPr>
          <p:spPr>
            <a:xfrm>
              <a:off x="48863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4" name="Freeform 773">
              <a:extLst>
                <a:ext uri="{FF2B5EF4-FFF2-40B4-BE49-F238E27FC236}">
                  <a16:creationId xmlns:a16="http://schemas.microsoft.com/office/drawing/2014/main" id="{B1B1A529-9D1D-98C8-70CF-1052BC4441F8}"/>
                </a:ext>
              </a:extLst>
            </p:cNvPr>
            <p:cNvSpPr/>
            <p:nvPr/>
          </p:nvSpPr>
          <p:spPr>
            <a:xfrm>
              <a:off x="48863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5" name="Freeform 774">
              <a:extLst>
                <a:ext uri="{FF2B5EF4-FFF2-40B4-BE49-F238E27FC236}">
                  <a16:creationId xmlns:a16="http://schemas.microsoft.com/office/drawing/2014/main" id="{902E0C26-84D3-9FC7-54DA-A5DF2D861A9B}"/>
                </a:ext>
              </a:extLst>
            </p:cNvPr>
            <p:cNvSpPr/>
            <p:nvPr/>
          </p:nvSpPr>
          <p:spPr>
            <a:xfrm>
              <a:off x="48863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6" name="Freeform 775">
              <a:extLst>
                <a:ext uri="{FF2B5EF4-FFF2-40B4-BE49-F238E27FC236}">
                  <a16:creationId xmlns:a16="http://schemas.microsoft.com/office/drawing/2014/main" id="{B410903F-D8BF-9CF8-E8F0-15F7ECE1207B}"/>
                </a:ext>
              </a:extLst>
            </p:cNvPr>
            <p:cNvSpPr/>
            <p:nvPr/>
          </p:nvSpPr>
          <p:spPr>
            <a:xfrm>
              <a:off x="48863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7" name="Freeform 776">
              <a:extLst>
                <a:ext uri="{FF2B5EF4-FFF2-40B4-BE49-F238E27FC236}">
                  <a16:creationId xmlns:a16="http://schemas.microsoft.com/office/drawing/2014/main" id="{B130BB76-EE8D-36EC-8DA0-5BE8790EB799}"/>
                </a:ext>
              </a:extLst>
            </p:cNvPr>
            <p:cNvSpPr/>
            <p:nvPr/>
          </p:nvSpPr>
          <p:spPr>
            <a:xfrm>
              <a:off x="48863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8" name="Freeform 777">
              <a:extLst>
                <a:ext uri="{FF2B5EF4-FFF2-40B4-BE49-F238E27FC236}">
                  <a16:creationId xmlns:a16="http://schemas.microsoft.com/office/drawing/2014/main" id="{ACCA1B50-7258-FE92-0AF2-3C1B2768D66C}"/>
                </a:ext>
              </a:extLst>
            </p:cNvPr>
            <p:cNvSpPr/>
            <p:nvPr/>
          </p:nvSpPr>
          <p:spPr>
            <a:xfrm>
              <a:off x="48863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9" name="Freeform 778">
              <a:extLst>
                <a:ext uri="{FF2B5EF4-FFF2-40B4-BE49-F238E27FC236}">
                  <a16:creationId xmlns:a16="http://schemas.microsoft.com/office/drawing/2014/main" id="{F6D75955-7E69-3168-6617-18B985D4F997}"/>
                </a:ext>
              </a:extLst>
            </p:cNvPr>
            <p:cNvSpPr/>
            <p:nvPr/>
          </p:nvSpPr>
          <p:spPr>
            <a:xfrm>
              <a:off x="48863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0" name="Freeform 779">
              <a:extLst>
                <a:ext uri="{FF2B5EF4-FFF2-40B4-BE49-F238E27FC236}">
                  <a16:creationId xmlns:a16="http://schemas.microsoft.com/office/drawing/2014/main" id="{76AF10BE-9673-82A8-B608-6A519F37BDFB}"/>
                </a:ext>
              </a:extLst>
            </p:cNvPr>
            <p:cNvSpPr/>
            <p:nvPr/>
          </p:nvSpPr>
          <p:spPr>
            <a:xfrm>
              <a:off x="48863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1" name="Freeform 780">
              <a:extLst>
                <a:ext uri="{FF2B5EF4-FFF2-40B4-BE49-F238E27FC236}">
                  <a16:creationId xmlns:a16="http://schemas.microsoft.com/office/drawing/2014/main" id="{8AB48B41-AB04-0E43-E6CA-CB2B6250841E}"/>
                </a:ext>
              </a:extLst>
            </p:cNvPr>
            <p:cNvSpPr/>
            <p:nvPr/>
          </p:nvSpPr>
          <p:spPr>
            <a:xfrm>
              <a:off x="49911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2" name="Freeform 781">
              <a:extLst>
                <a:ext uri="{FF2B5EF4-FFF2-40B4-BE49-F238E27FC236}">
                  <a16:creationId xmlns:a16="http://schemas.microsoft.com/office/drawing/2014/main" id="{BAC36589-B020-BE68-BFE3-9C1C24FD087B}"/>
                </a:ext>
              </a:extLst>
            </p:cNvPr>
            <p:cNvSpPr/>
            <p:nvPr/>
          </p:nvSpPr>
          <p:spPr>
            <a:xfrm>
              <a:off x="49911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3" name="Freeform 782">
              <a:extLst>
                <a:ext uri="{FF2B5EF4-FFF2-40B4-BE49-F238E27FC236}">
                  <a16:creationId xmlns:a16="http://schemas.microsoft.com/office/drawing/2014/main" id="{3D5B0532-F3A3-416E-2176-933C5DE83DA3}"/>
                </a:ext>
              </a:extLst>
            </p:cNvPr>
            <p:cNvSpPr/>
            <p:nvPr/>
          </p:nvSpPr>
          <p:spPr>
            <a:xfrm>
              <a:off x="49911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4" name="Freeform 783">
              <a:extLst>
                <a:ext uri="{FF2B5EF4-FFF2-40B4-BE49-F238E27FC236}">
                  <a16:creationId xmlns:a16="http://schemas.microsoft.com/office/drawing/2014/main" id="{43DCCCF9-B64B-ABD6-4C28-74D19348D874}"/>
                </a:ext>
              </a:extLst>
            </p:cNvPr>
            <p:cNvSpPr/>
            <p:nvPr/>
          </p:nvSpPr>
          <p:spPr>
            <a:xfrm>
              <a:off x="49911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5" name="Freeform 784">
              <a:extLst>
                <a:ext uri="{FF2B5EF4-FFF2-40B4-BE49-F238E27FC236}">
                  <a16:creationId xmlns:a16="http://schemas.microsoft.com/office/drawing/2014/main" id="{2A9E0822-0105-E72B-F2FF-6298A9BF5417}"/>
                </a:ext>
              </a:extLst>
            </p:cNvPr>
            <p:cNvSpPr/>
            <p:nvPr/>
          </p:nvSpPr>
          <p:spPr>
            <a:xfrm>
              <a:off x="49911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6" name="Freeform 785">
              <a:extLst>
                <a:ext uri="{FF2B5EF4-FFF2-40B4-BE49-F238E27FC236}">
                  <a16:creationId xmlns:a16="http://schemas.microsoft.com/office/drawing/2014/main" id="{AC494034-B84D-5A67-FEF2-4C574321AF89}"/>
                </a:ext>
              </a:extLst>
            </p:cNvPr>
            <p:cNvSpPr/>
            <p:nvPr/>
          </p:nvSpPr>
          <p:spPr>
            <a:xfrm>
              <a:off x="49911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7" name="Freeform 786">
              <a:extLst>
                <a:ext uri="{FF2B5EF4-FFF2-40B4-BE49-F238E27FC236}">
                  <a16:creationId xmlns:a16="http://schemas.microsoft.com/office/drawing/2014/main" id="{C879BBB4-9CCB-FBE1-DF33-B35E77E82A63}"/>
                </a:ext>
              </a:extLst>
            </p:cNvPr>
            <p:cNvSpPr/>
            <p:nvPr/>
          </p:nvSpPr>
          <p:spPr>
            <a:xfrm>
              <a:off x="49911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8" name="Freeform 787">
              <a:extLst>
                <a:ext uri="{FF2B5EF4-FFF2-40B4-BE49-F238E27FC236}">
                  <a16:creationId xmlns:a16="http://schemas.microsoft.com/office/drawing/2014/main" id="{4827EF4F-D80A-6D2D-DACA-01344B172E46}"/>
                </a:ext>
              </a:extLst>
            </p:cNvPr>
            <p:cNvSpPr/>
            <p:nvPr/>
          </p:nvSpPr>
          <p:spPr>
            <a:xfrm>
              <a:off x="49911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9" name="Freeform 788">
              <a:extLst>
                <a:ext uri="{FF2B5EF4-FFF2-40B4-BE49-F238E27FC236}">
                  <a16:creationId xmlns:a16="http://schemas.microsoft.com/office/drawing/2014/main" id="{EAA282BE-5CDF-2FA4-DE49-F8E855E1135F}"/>
                </a:ext>
              </a:extLst>
            </p:cNvPr>
            <p:cNvSpPr/>
            <p:nvPr/>
          </p:nvSpPr>
          <p:spPr>
            <a:xfrm>
              <a:off x="49911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0" name="Freeform 789">
              <a:extLst>
                <a:ext uri="{FF2B5EF4-FFF2-40B4-BE49-F238E27FC236}">
                  <a16:creationId xmlns:a16="http://schemas.microsoft.com/office/drawing/2014/main" id="{16EB3902-6A3A-338C-AC75-CF206317B55D}"/>
                </a:ext>
              </a:extLst>
            </p:cNvPr>
            <p:cNvSpPr/>
            <p:nvPr/>
          </p:nvSpPr>
          <p:spPr>
            <a:xfrm>
              <a:off x="49911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1" name="Freeform 790">
              <a:extLst>
                <a:ext uri="{FF2B5EF4-FFF2-40B4-BE49-F238E27FC236}">
                  <a16:creationId xmlns:a16="http://schemas.microsoft.com/office/drawing/2014/main" id="{F0062020-69B2-2060-6DB6-32BEE06B0F07}"/>
                </a:ext>
              </a:extLst>
            </p:cNvPr>
            <p:cNvSpPr/>
            <p:nvPr/>
          </p:nvSpPr>
          <p:spPr>
            <a:xfrm>
              <a:off x="49911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2" name="Freeform 791">
              <a:extLst>
                <a:ext uri="{FF2B5EF4-FFF2-40B4-BE49-F238E27FC236}">
                  <a16:creationId xmlns:a16="http://schemas.microsoft.com/office/drawing/2014/main" id="{CB64AC29-1391-AAA4-CACF-FC43C25E3E99}"/>
                </a:ext>
              </a:extLst>
            </p:cNvPr>
            <p:cNvSpPr/>
            <p:nvPr/>
          </p:nvSpPr>
          <p:spPr>
            <a:xfrm>
              <a:off x="49911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3" name="Freeform 792">
              <a:extLst>
                <a:ext uri="{FF2B5EF4-FFF2-40B4-BE49-F238E27FC236}">
                  <a16:creationId xmlns:a16="http://schemas.microsoft.com/office/drawing/2014/main" id="{8F59EFD6-3762-6BDF-5C62-962F7BE29957}"/>
                </a:ext>
              </a:extLst>
            </p:cNvPr>
            <p:cNvSpPr/>
            <p:nvPr/>
          </p:nvSpPr>
          <p:spPr>
            <a:xfrm>
              <a:off x="49911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4" name="Freeform 793">
              <a:extLst>
                <a:ext uri="{FF2B5EF4-FFF2-40B4-BE49-F238E27FC236}">
                  <a16:creationId xmlns:a16="http://schemas.microsoft.com/office/drawing/2014/main" id="{4B7665AD-F0E8-CFC3-9F41-802E42D6E106}"/>
                </a:ext>
              </a:extLst>
            </p:cNvPr>
            <p:cNvSpPr/>
            <p:nvPr/>
          </p:nvSpPr>
          <p:spPr>
            <a:xfrm>
              <a:off x="49911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5" name="Freeform 794">
              <a:extLst>
                <a:ext uri="{FF2B5EF4-FFF2-40B4-BE49-F238E27FC236}">
                  <a16:creationId xmlns:a16="http://schemas.microsoft.com/office/drawing/2014/main" id="{09E5E5F8-1C5C-B3C2-2BF6-48151B7AF23D}"/>
                </a:ext>
              </a:extLst>
            </p:cNvPr>
            <p:cNvSpPr/>
            <p:nvPr/>
          </p:nvSpPr>
          <p:spPr>
            <a:xfrm>
              <a:off x="49911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6" name="Freeform 795">
              <a:extLst>
                <a:ext uri="{FF2B5EF4-FFF2-40B4-BE49-F238E27FC236}">
                  <a16:creationId xmlns:a16="http://schemas.microsoft.com/office/drawing/2014/main" id="{9C2BC46D-2576-29D5-8596-343146BD3E43}"/>
                </a:ext>
              </a:extLst>
            </p:cNvPr>
            <p:cNvSpPr/>
            <p:nvPr/>
          </p:nvSpPr>
          <p:spPr>
            <a:xfrm>
              <a:off x="49911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7" name="Freeform 796">
              <a:extLst>
                <a:ext uri="{FF2B5EF4-FFF2-40B4-BE49-F238E27FC236}">
                  <a16:creationId xmlns:a16="http://schemas.microsoft.com/office/drawing/2014/main" id="{CB6324D1-7075-37E3-DB6B-6575E13F6F2F}"/>
                </a:ext>
              </a:extLst>
            </p:cNvPr>
            <p:cNvSpPr/>
            <p:nvPr/>
          </p:nvSpPr>
          <p:spPr>
            <a:xfrm>
              <a:off x="49911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8" name="Freeform 797">
              <a:extLst>
                <a:ext uri="{FF2B5EF4-FFF2-40B4-BE49-F238E27FC236}">
                  <a16:creationId xmlns:a16="http://schemas.microsoft.com/office/drawing/2014/main" id="{F4AF7FEA-F4EB-34BB-4873-41424DF99F93}"/>
                </a:ext>
              </a:extLst>
            </p:cNvPr>
            <p:cNvSpPr/>
            <p:nvPr/>
          </p:nvSpPr>
          <p:spPr>
            <a:xfrm>
              <a:off x="50958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9" name="Freeform 798">
              <a:extLst>
                <a:ext uri="{FF2B5EF4-FFF2-40B4-BE49-F238E27FC236}">
                  <a16:creationId xmlns:a16="http://schemas.microsoft.com/office/drawing/2014/main" id="{4BC0734C-0B68-745D-50CE-5608CADC3942}"/>
                </a:ext>
              </a:extLst>
            </p:cNvPr>
            <p:cNvSpPr/>
            <p:nvPr/>
          </p:nvSpPr>
          <p:spPr>
            <a:xfrm>
              <a:off x="50958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0" name="Freeform 799">
              <a:extLst>
                <a:ext uri="{FF2B5EF4-FFF2-40B4-BE49-F238E27FC236}">
                  <a16:creationId xmlns:a16="http://schemas.microsoft.com/office/drawing/2014/main" id="{6418C8CF-50B1-C85F-9C0D-58D1CD1EDA86}"/>
                </a:ext>
              </a:extLst>
            </p:cNvPr>
            <p:cNvSpPr/>
            <p:nvPr/>
          </p:nvSpPr>
          <p:spPr>
            <a:xfrm>
              <a:off x="50958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1" name="Freeform 800">
              <a:extLst>
                <a:ext uri="{FF2B5EF4-FFF2-40B4-BE49-F238E27FC236}">
                  <a16:creationId xmlns:a16="http://schemas.microsoft.com/office/drawing/2014/main" id="{BD4F5F33-966F-D626-AEDB-255D4FFDA49C}"/>
                </a:ext>
              </a:extLst>
            </p:cNvPr>
            <p:cNvSpPr/>
            <p:nvPr/>
          </p:nvSpPr>
          <p:spPr>
            <a:xfrm>
              <a:off x="50958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2" name="Freeform 801">
              <a:extLst>
                <a:ext uri="{FF2B5EF4-FFF2-40B4-BE49-F238E27FC236}">
                  <a16:creationId xmlns:a16="http://schemas.microsoft.com/office/drawing/2014/main" id="{CB847879-F912-631C-B3AA-586B36B77F53}"/>
                </a:ext>
              </a:extLst>
            </p:cNvPr>
            <p:cNvSpPr/>
            <p:nvPr/>
          </p:nvSpPr>
          <p:spPr>
            <a:xfrm>
              <a:off x="50958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3" name="Freeform 802">
              <a:extLst>
                <a:ext uri="{FF2B5EF4-FFF2-40B4-BE49-F238E27FC236}">
                  <a16:creationId xmlns:a16="http://schemas.microsoft.com/office/drawing/2014/main" id="{BC58660B-D0BA-A07B-75E5-18674C521494}"/>
                </a:ext>
              </a:extLst>
            </p:cNvPr>
            <p:cNvSpPr/>
            <p:nvPr/>
          </p:nvSpPr>
          <p:spPr>
            <a:xfrm>
              <a:off x="50958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4" name="Freeform 803">
              <a:extLst>
                <a:ext uri="{FF2B5EF4-FFF2-40B4-BE49-F238E27FC236}">
                  <a16:creationId xmlns:a16="http://schemas.microsoft.com/office/drawing/2014/main" id="{EAA07689-0490-21BE-2DD4-B3F3E1865FF7}"/>
                </a:ext>
              </a:extLst>
            </p:cNvPr>
            <p:cNvSpPr/>
            <p:nvPr/>
          </p:nvSpPr>
          <p:spPr>
            <a:xfrm>
              <a:off x="50958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5" name="Freeform 804">
              <a:extLst>
                <a:ext uri="{FF2B5EF4-FFF2-40B4-BE49-F238E27FC236}">
                  <a16:creationId xmlns:a16="http://schemas.microsoft.com/office/drawing/2014/main" id="{0AA164E9-EF33-2A7D-9FFA-05272560E557}"/>
                </a:ext>
              </a:extLst>
            </p:cNvPr>
            <p:cNvSpPr/>
            <p:nvPr/>
          </p:nvSpPr>
          <p:spPr>
            <a:xfrm>
              <a:off x="50958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6" name="Freeform 805">
              <a:extLst>
                <a:ext uri="{FF2B5EF4-FFF2-40B4-BE49-F238E27FC236}">
                  <a16:creationId xmlns:a16="http://schemas.microsoft.com/office/drawing/2014/main" id="{E19DFDA2-F05B-3C69-8F65-D783FDEEF323}"/>
                </a:ext>
              </a:extLst>
            </p:cNvPr>
            <p:cNvSpPr/>
            <p:nvPr/>
          </p:nvSpPr>
          <p:spPr>
            <a:xfrm>
              <a:off x="50958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7" name="Freeform 806">
              <a:extLst>
                <a:ext uri="{FF2B5EF4-FFF2-40B4-BE49-F238E27FC236}">
                  <a16:creationId xmlns:a16="http://schemas.microsoft.com/office/drawing/2014/main" id="{42314E2E-B3AF-8BDE-2E98-D222F44BEDC5}"/>
                </a:ext>
              </a:extLst>
            </p:cNvPr>
            <p:cNvSpPr/>
            <p:nvPr/>
          </p:nvSpPr>
          <p:spPr>
            <a:xfrm>
              <a:off x="50958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8" name="Freeform 807">
              <a:extLst>
                <a:ext uri="{FF2B5EF4-FFF2-40B4-BE49-F238E27FC236}">
                  <a16:creationId xmlns:a16="http://schemas.microsoft.com/office/drawing/2014/main" id="{9C9EB0AF-F87A-846F-E29E-63DDDE99581C}"/>
                </a:ext>
              </a:extLst>
            </p:cNvPr>
            <p:cNvSpPr/>
            <p:nvPr/>
          </p:nvSpPr>
          <p:spPr>
            <a:xfrm>
              <a:off x="50958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9" name="Freeform 808">
              <a:extLst>
                <a:ext uri="{FF2B5EF4-FFF2-40B4-BE49-F238E27FC236}">
                  <a16:creationId xmlns:a16="http://schemas.microsoft.com/office/drawing/2014/main" id="{29AEAE2E-B359-19EE-DC77-3161C613F18B}"/>
                </a:ext>
              </a:extLst>
            </p:cNvPr>
            <p:cNvSpPr/>
            <p:nvPr/>
          </p:nvSpPr>
          <p:spPr>
            <a:xfrm>
              <a:off x="50958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0" name="Freeform 809">
              <a:extLst>
                <a:ext uri="{FF2B5EF4-FFF2-40B4-BE49-F238E27FC236}">
                  <a16:creationId xmlns:a16="http://schemas.microsoft.com/office/drawing/2014/main" id="{1000CD44-477D-3706-D1D6-83BEEF1B02BE}"/>
                </a:ext>
              </a:extLst>
            </p:cNvPr>
            <p:cNvSpPr/>
            <p:nvPr/>
          </p:nvSpPr>
          <p:spPr>
            <a:xfrm>
              <a:off x="50958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1" name="Freeform 810">
              <a:extLst>
                <a:ext uri="{FF2B5EF4-FFF2-40B4-BE49-F238E27FC236}">
                  <a16:creationId xmlns:a16="http://schemas.microsoft.com/office/drawing/2014/main" id="{77B820EB-9FCE-25A6-0016-D9D062AF9A1B}"/>
                </a:ext>
              </a:extLst>
            </p:cNvPr>
            <p:cNvSpPr/>
            <p:nvPr/>
          </p:nvSpPr>
          <p:spPr>
            <a:xfrm>
              <a:off x="50958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2" name="Freeform 811">
              <a:extLst>
                <a:ext uri="{FF2B5EF4-FFF2-40B4-BE49-F238E27FC236}">
                  <a16:creationId xmlns:a16="http://schemas.microsoft.com/office/drawing/2014/main" id="{D6E034A6-9C1F-19BB-7DBA-2D28645E8BBA}"/>
                </a:ext>
              </a:extLst>
            </p:cNvPr>
            <p:cNvSpPr/>
            <p:nvPr/>
          </p:nvSpPr>
          <p:spPr>
            <a:xfrm>
              <a:off x="50958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3" name="Freeform 812">
              <a:extLst>
                <a:ext uri="{FF2B5EF4-FFF2-40B4-BE49-F238E27FC236}">
                  <a16:creationId xmlns:a16="http://schemas.microsoft.com/office/drawing/2014/main" id="{9715864C-344A-1D4A-F58F-CA5158CB7561}"/>
                </a:ext>
              </a:extLst>
            </p:cNvPr>
            <p:cNvSpPr/>
            <p:nvPr/>
          </p:nvSpPr>
          <p:spPr>
            <a:xfrm>
              <a:off x="50958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4" name="Freeform 813">
              <a:extLst>
                <a:ext uri="{FF2B5EF4-FFF2-40B4-BE49-F238E27FC236}">
                  <a16:creationId xmlns:a16="http://schemas.microsoft.com/office/drawing/2014/main" id="{C132EE26-B7DA-0D4F-494F-B84DE77B0783}"/>
                </a:ext>
              </a:extLst>
            </p:cNvPr>
            <p:cNvSpPr/>
            <p:nvPr/>
          </p:nvSpPr>
          <p:spPr>
            <a:xfrm>
              <a:off x="50958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5" name="Freeform 814">
              <a:extLst>
                <a:ext uri="{FF2B5EF4-FFF2-40B4-BE49-F238E27FC236}">
                  <a16:creationId xmlns:a16="http://schemas.microsoft.com/office/drawing/2014/main" id="{A22E1916-FEBC-6238-E71C-C64630D97F8F}"/>
                </a:ext>
              </a:extLst>
            </p:cNvPr>
            <p:cNvSpPr/>
            <p:nvPr/>
          </p:nvSpPr>
          <p:spPr>
            <a:xfrm>
              <a:off x="50958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6" name="Freeform 815">
              <a:extLst>
                <a:ext uri="{FF2B5EF4-FFF2-40B4-BE49-F238E27FC236}">
                  <a16:creationId xmlns:a16="http://schemas.microsoft.com/office/drawing/2014/main" id="{AA0C8E03-C2E3-5841-5F3C-3EFAA463CC49}"/>
                </a:ext>
              </a:extLst>
            </p:cNvPr>
            <p:cNvSpPr/>
            <p:nvPr/>
          </p:nvSpPr>
          <p:spPr>
            <a:xfrm>
              <a:off x="50958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7" name="Freeform 816">
              <a:extLst>
                <a:ext uri="{FF2B5EF4-FFF2-40B4-BE49-F238E27FC236}">
                  <a16:creationId xmlns:a16="http://schemas.microsoft.com/office/drawing/2014/main" id="{F119860D-B97E-3BAC-722B-35AAA681A0DF}"/>
                </a:ext>
              </a:extLst>
            </p:cNvPr>
            <p:cNvSpPr/>
            <p:nvPr/>
          </p:nvSpPr>
          <p:spPr>
            <a:xfrm>
              <a:off x="52006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8" name="Freeform 817">
              <a:extLst>
                <a:ext uri="{FF2B5EF4-FFF2-40B4-BE49-F238E27FC236}">
                  <a16:creationId xmlns:a16="http://schemas.microsoft.com/office/drawing/2014/main" id="{86754BA7-4787-00E5-DAF4-D712A1403BCB}"/>
                </a:ext>
              </a:extLst>
            </p:cNvPr>
            <p:cNvSpPr/>
            <p:nvPr/>
          </p:nvSpPr>
          <p:spPr>
            <a:xfrm>
              <a:off x="52006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9" name="Freeform 818">
              <a:extLst>
                <a:ext uri="{FF2B5EF4-FFF2-40B4-BE49-F238E27FC236}">
                  <a16:creationId xmlns:a16="http://schemas.microsoft.com/office/drawing/2014/main" id="{BD84D2F6-8D48-7575-32B1-DA6E6CD76259}"/>
                </a:ext>
              </a:extLst>
            </p:cNvPr>
            <p:cNvSpPr/>
            <p:nvPr/>
          </p:nvSpPr>
          <p:spPr>
            <a:xfrm>
              <a:off x="52006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0" name="Freeform 819">
              <a:extLst>
                <a:ext uri="{FF2B5EF4-FFF2-40B4-BE49-F238E27FC236}">
                  <a16:creationId xmlns:a16="http://schemas.microsoft.com/office/drawing/2014/main" id="{E292B861-4AFF-8097-57B6-836CC00D5837}"/>
                </a:ext>
              </a:extLst>
            </p:cNvPr>
            <p:cNvSpPr/>
            <p:nvPr/>
          </p:nvSpPr>
          <p:spPr>
            <a:xfrm>
              <a:off x="52006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1" name="Freeform 820">
              <a:extLst>
                <a:ext uri="{FF2B5EF4-FFF2-40B4-BE49-F238E27FC236}">
                  <a16:creationId xmlns:a16="http://schemas.microsoft.com/office/drawing/2014/main" id="{7D3D03CA-2653-E8A5-C35F-F370E84FE338}"/>
                </a:ext>
              </a:extLst>
            </p:cNvPr>
            <p:cNvSpPr/>
            <p:nvPr/>
          </p:nvSpPr>
          <p:spPr>
            <a:xfrm>
              <a:off x="52006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2" name="Freeform 821">
              <a:extLst>
                <a:ext uri="{FF2B5EF4-FFF2-40B4-BE49-F238E27FC236}">
                  <a16:creationId xmlns:a16="http://schemas.microsoft.com/office/drawing/2014/main" id="{87D5C620-A60E-80EE-00C3-6516FB6575A3}"/>
                </a:ext>
              </a:extLst>
            </p:cNvPr>
            <p:cNvSpPr/>
            <p:nvPr/>
          </p:nvSpPr>
          <p:spPr>
            <a:xfrm>
              <a:off x="52006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3" name="Freeform 822">
              <a:extLst>
                <a:ext uri="{FF2B5EF4-FFF2-40B4-BE49-F238E27FC236}">
                  <a16:creationId xmlns:a16="http://schemas.microsoft.com/office/drawing/2014/main" id="{926A8063-99CE-5C18-B348-C3ED04FDD28C}"/>
                </a:ext>
              </a:extLst>
            </p:cNvPr>
            <p:cNvSpPr/>
            <p:nvPr/>
          </p:nvSpPr>
          <p:spPr>
            <a:xfrm>
              <a:off x="52006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4" name="Freeform 823">
              <a:extLst>
                <a:ext uri="{FF2B5EF4-FFF2-40B4-BE49-F238E27FC236}">
                  <a16:creationId xmlns:a16="http://schemas.microsoft.com/office/drawing/2014/main" id="{DC1721C3-1EA2-E91A-3DED-BB1DAF9A3AD1}"/>
                </a:ext>
              </a:extLst>
            </p:cNvPr>
            <p:cNvSpPr/>
            <p:nvPr/>
          </p:nvSpPr>
          <p:spPr>
            <a:xfrm>
              <a:off x="52006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5" name="Freeform 824">
              <a:extLst>
                <a:ext uri="{FF2B5EF4-FFF2-40B4-BE49-F238E27FC236}">
                  <a16:creationId xmlns:a16="http://schemas.microsoft.com/office/drawing/2014/main" id="{855A3AE3-BE1E-B8A8-16BE-F65CE626C683}"/>
                </a:ext>
              </a:extLst>
            </p:cNvPr>
            <p:cNvSpPr/>
            <p:nvPr/>
          </p:nvSpPr>
          <p:spPr>
            <a:xfrm>
              <a:off x="52006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6" name="Freeform 825">
              <a:extLst>
                <a:ext uri="{FF2B5EF4-FFF2-40B4-BE49-F238E27FC236}">
                  <a16:creationId xmlns:a16="http://schemas.microsoft.com/office/drawing/2014/main" id="{60CEA00B-0751-5487-1209-0966355F9D26}"/>
                </a:ext>
              </a:extLst>
            </p:cNvPr>
            <p:cNvSpPr/>
            <p:nvPr/>
          </p:nvSpPr>
          <p:spPr>
            <a:xfrm>
              <a:off x="52006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7" name="Freeform 826">
              <a:extLst>
                <a:ext uri="{FF2B5EF4-FFF2-40B4-BE49-F238E27FC236}">
                  <a16:creationId xmlns:a16="http://schemas.microsoft.com/office/drawing/2014/main" id="{C1E6399A-A0D6-443D-8EEC-0551DC1F4129}"/>
                </a:ext>
              </a:extLst>
            </p:cNvPr>
            <p:cNvSpPr/>
            <p:nvPr/>
          </p:nvSpPr>
          <p:spPr>
            <a:xfrm>
              <a:off x="52006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8" name="Freeform 827">
              <a:extLst>
                <a:ext uri="{FF2B5EF4-FFF2-40B4-BE49-F238E27FC236}">
                  <a16:creationId xmlns:a16="http://schemas.microsoft.com/office/drawing/2014/main" id="{745741A4-7441-1150-91FB-8DAD03FCF7EE}"/>
                </a:ext>
              </a:extLst>
            </p:cNvPr>
            <p:cNvSpPr/>
            <p:nvPr/>
          </p:nvSpPr>
          <p:spPr>
            <a:xfrm>
              <a:off x="52006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9" name="Freeform 828">
              <a:extLst>
                <a:ext uri="{FF2B5EF4-FFF2-40B4-BE49-F238E27FC236}">
                  <a16:creationId xmlns:a16="http://schemas.microsoft.com/office/drawing/2014/main" id="{BDC4406D-AAB9-B62D-C528-983F761B7427}"/>
                </a:ext>
              </a:extLst>
            </p:cNvPr>
            <p:cNvSpPr/>
            <p:nvPr/>
          </p:nvSpPr>
          <p:spPr>
            <a:xfrm>
              <a:off x="52006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0" name="Freeform 829">
              <a:extLst>
                <a:ext uri="{FF2B5EF4-FFF2-40B4-BE49-F238E27FC236}">
                  <a16:creationId xmlns:a16="http://schemas.microsoft.com/office/drawing/2014/main" id="{A261A279-1C35-9666-AD2F-FB2FFD7AC01D}"/>
                </a:ext>
              </a:extLst>
            </p:cNvPr>
            <p:cNvSpPr/>
            <p:nvPr/>
          </p:nvSpPr>
          <p:spPr>
            <a:xfrm>
              <a:off x="52006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1" name="Freeform 830">
              <a:extLst>
                <a:ext uri="{FF2B5EF4-FFF2-40B4-BE49-F238E27FC236}">
                  <a16:creationId xmlns:a16="http://schemas.microsoft.com/office/drawing/2014/main" id="{36E43D9B-C6E2-63B3-E0F0-C05C80370453}"/>
                </a:ext>
              </a:extLst>
            </p:cNvPr>
            <p:cNvSpPr/>
            <p:nvPr/>
          </p:nvSpPr>
          <p:spPr>
            <a:xfrm>
              <a:off x="52006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2" name="Freeform 831">
              <a:extLst>
                <a:ext uri="{FF2B5EF4-FFF2-40B4-BE49-F238E27FC236}">
                  <a16:creationId xmlns:a16="http://schemas.microsoft.com/office/drawing/2014/main" id="{D71B0494-5B75-3F09-4B8F-73CA430F163E}"/>
                </a:ext>
              </a:extLst>
            </p:cNvPr>
            <p:cNvSpPr/>
            <p:nvPr/>
          </p:nvSpPr>
          <p:spPr>
            <a:xfrm>
              <a:off x="52006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3" name="Freeform 832">
              <a:extLst>
                <a:ext uri="{FF2B5EF4-FFF2-40B4-BE49-F238E27FC236}">
                  <a16:creationId xmlns:a16="http://schemas.microsoft.com/office/drawing/2014/main" id="{8D747668-6163-C4D9-0D48-87769086EA30}"/>
                </a:ext>
              </a:extLst>
            </p:cNvPr>
            <p:cNvSpPr/>
            <p:nvPr/>
          </p:nvSpPr>
          <p:spPr>
            <a:xfrm>
              <a:off x="53054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4" name="Freeform 833">
              <a:extLst>
                <a:ext uri="{FF2B5EF4-FFF2-40B4-BE49-F238E27FC236}">
                  <a16:creationId xmlns:a16="http://schemas.microsoft.com/office/drawing/2014/main" id="{F3ABCFD7-2754-EA97-FC63-7CAB91F97B46}"/>
                </a:ext>
              </a:extLst>
            </p:cNvPr>
            <p:cNvSpPr/>
            <p:nvPr/>
          </p:nvSpPr>
          <p:spPr>
            <a:xfrm>
              <a:off x="53054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5" name="Freeform 834">
              <a:extLst>
                <a:ext uri="{FF2B5EF4-FFF2-40B4-BE49-F238E27FC236}">
                  <a16:creationId xmlns:a16="http://schemas.microsoft.com/office/drawing/2014/main" id="{5872E9F0-7552-BF50-AF00-1FB02B4E28E6}"/>
                </a:ext>
              </a:extLst>
            </p:cNvPr>
            <p:cNvSpPr/>
            <p:nvPr/>
          </p:nvSpPr>
          <p:spPr>
            <a:xfrm>
              <a:off x="53054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6" name="Freeform 835">
              <a:extLst>
                <a:ext uri="{FF2B5EF4-FFF2-40B4-BE49-F238E27FC236}">
                  <a16:creationId xmlns:a16="http://schemas.microsoft.com/office/drawing/2014/main" id="{DA96358F-1A06-988C-4773-FE4B37983BFC}"/>
                </a:ext>
              </a:extLst>
            </p:cNvPr>
            <p:cNvSpPr/>
            <p:nvPr/>
          </p:nvSpPr>
          <p:spPr>
            <a:xfrm>
              <a:off x="53054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7" name="Freeform 836">
              <a:extLst>
                <a:ext uri="{FF2B5EF4-FFF2-40B4-BE49-F238E27FC236}">
                  <a16:creationId xmlns:a16="http://schemas.microsoft.com/office/drawing/2014/main" id="{A49DB2BD-BBF1-6E16-172B-A6DA1F0E767D}"/>
                </a:ext>
              </a:extLst>
            </p:cNvPr>
            <p:cNvSpPr/>
            <p:nvPr/>
          </p:nvSpPr>
          <p:spPr>
            <a:xfrm>
              <a:off x="53054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8" name="Freeform 837">
              <a:extLst>
                <a:ext uri="{FF2B5EF4-FFF2-40B4-BE49-F238E27FC236}">
                  <a16:creationId xmlns:a16="http://schemas.microsoft.com/office/drawing/2014/main" id="{3C9A7497-AD28-E599-2C64-6AF54EFA631F}"/>
                </a:ext>
              </a:extLst>
            </p:cNvPr>
            <p:cNvSpPr/>
            <p:nvPr/>
          </p:nvSpPr>
          <p:spPr>
            <a:xfrm>
              <a:off x="53054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9" name="Freeform 838">
              <a:extLst>
                <a:ext uri="{FF2B5EF4-FFF2-40B4-BE49-F238E27FC236}">
                  <a16:creationId xmlns:a16="http://schemas.microsoft.com/office/drawing/2014/main" id="{06C4FFF3-AEDF-2659-2612-36ADEC005C74}"/>
                </a:ext>
              </a:extLst>
            </p:cNvPr>
            <p:cNvSpPr/>
            <p:nvPr/>
          </p:nvSpPr>
          <p:spPr>
            <a:xfrm>
              <a:off x="53054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0" name="Freeform 839">
              <a:extLst>
                <a:ext uri="{FF2B5EF4-FFF2-40B4-BE49-F238E27FC236}">
                  <a16:creationId xmlns:a16="http://schemas.microsoft.com/office/drawing/2014/main" id="{783AA8B1-F52E-E9E7-B157-DCD23638C1E3}"/>
                </a:ext>
              </a:extLst>
            </p:cNvPr>
            <p:cNvSpPr/>
            <p:nvPr/>
          </p:nvSpPr>
          <p:spPr>
            <a:xfrm>
              <a:off x="53054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1" name="Freeform 840">
              <a:extLst>
                <a:ext uri="{FF2B5EF4-FFF2-40B4-BE49-F238E27FC236}">
                  <a16:creationId xmlns:a16="http://schemas.microsoft.com/office/drawing/2014/main" id="{B727D8D7-AE98-0C85-A8AA-6B2F5BC72727}"/>
                </a:ext>
              </a:extLst>
            </p:cNvPr>
            <p:cNvSpPr/>
            <p:nvPr/>
          </p:nvSpPr>
          <p:spPr>
            <a:xfrm>
              <a:off x="53054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2" name="Freeform 841">
              <a:extLst>
                <a:ext uri="{FF2B5EF4-FFF2-40B4-BE49-F238E27FC236}">
                  <a16:creationId xmlns:a16="http://schemas.microsoft.com/office/drawing/2014/main" id="{5B27CC32-64CA-6080-F0FA-D7D2C7FBC366}"/>
                </a:ext>
              </a:extLst>
            </p:cNvPr>
            <p:cNvSpPr/>
            <p:nvPr/>
          </p:nvSpPr>
          <p:spPr>
            <a:xfrm>
              <a:off x="53054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3" name="Freeform 842">
              <a:extLst>
                <a:ext uri="{FF2B5EF4-FFF2-40B4-BE49-F238E27FC236}">
                  <a16:creationId xmlns:a16="http://schemas.microsoft.com/office/drawing/2014/main" id="{6E0220B2-0300-9EE1-F6F0-4D2505F3E1CD}"/>
                </a:ext>
              </a:extLst>
            </p:cNvPr>
            <p:cNvSpPr/>
            <p:nvPr/>
          </p:nvSpPr>
          <p:spPr>
            <a:xfrm>
              <a:off x="53054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4" name="Freeform 843">
              <a:extLst>
                <a:ext uri="{FF2B5EF4-FFF2-40B4-BE49-F238E27FC236}">
                  <a16:creationId xmlns:a16="http://schemas.microsoft.com/office/drawing/2014/main" id="{F325CB65-E534-5C8E-3081-EDFF3FC3F1B6}"/>
                </a:ext>
              </a:extLst>
            </p:cNvPr>
            <p:cNvSpPr/>
            <p:nvPr/>
          </p:nvSpPr>
          <p:spPr>
            <a:xfrm>
              <a:off x="53054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5" name="Freeform 844">
              <a:extLst>
                <a:ext uri="{FF2B5EF4-FFF2-40B4-BE49-F238E27FC236}">
                  <a16:creationId xmlns:a16="http://schemas.microsoft.com/office/drawing/2014/main" id="{BC947065-7AAE-E907-C3D5-B3F18B149E4A}"/>
                </a:ext>
              </a:extLst>
            </p:cNvPr>
            <p:cNvSpPr/>
            <p:nvPr/>
          </p:nvSpPr>
          <p:spPr>
            <a:xfrm>
              <a:off x="53054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6" name="Freeform 845">
              <a:extLst>
                <a:ext uri="{FF2B5EF4-FFF2-40B4-BE49-F238E27FC236}">
                  <a16:creationId xmlns:a16="http://schemas.microsoft.com/office/drawing/2014/main" id="{1AC3C7FE-0EAF-2FCE-2FB2-7BBEE2DDB264}"/>
                </a:ext>
              </a:extLst>
            </p:cNvPr>
            <p:cNvSpPr/>
            <p:nvPr/>
          </p:nvSpPr>
          <p:spPr>
            <a:xfrm>
              <a:off x="53054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7" name="Freeform 846">
              <a:extLst>
                <a:ext uri="{FF2B5EF4-FFF2-40B4-BE49-F238E27FC236}">
                  <a16:creationId xmlns:a16="http://schemas.microsoft.com/office/drawing/2014/main" id="{4695951F-CB7F-B612-FA55-55831AF7B4E0}"/>
                </a:ext>
              </a:extLst>
            </p:cNvPr>
            <p:cNvSpPr/>
            <p:nvPr/>
          </p:nvSpPr>
          <p:spPr>
            <a:xfrm>
              <a:off x="53054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8" name="Freeform 847">
              <a:extLst>
                <a:ext uri="{FF2B5EF4-FFF2-40B4-BE49-F238E27FC236}">
                  <a16:creationId xmlns:a16="http://schemas.microsoft.com/office/drawing/2014/main" id="{074626C4-47C2-ADB8-5FA3-FC12F8129F56}"/>
                </a:ext>
              </a:extLst>
            </p:cNvPr>
            <p:cNvSpPr/>
            <p:nvPr/>
          </p:nvSpPr>
          <p:spPr>
            <a:xfrm>
              <a:off x="53054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9" name="Freeform 848">
              <a:extLst>
                <a:ext uri="{FF2B5EF4-FFF2-40B4-BE49-F238E27FC236}">
                  <a16:creationId xmlns:a16="http://schemas.microsoft.com/office/drawing/2014/main" id="{AA841262-C2A1-C463-32B5-1BED666D9961}"/>
                </a:ext>
              </a:extLst>
            </p:cNvPr>
            <p:cNvSpPr/>
            <p:nvPr/>
          </p:nvSpPr>
          <p:spPr>
            <a:xfrm>
              <a:off x="54102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0" name="Freeform 849">
              <a:extLst>
                <a:ext uri="{FF2B5EF4-FFF2-40B4-BE49-F238E27FC236}">
                  <a16:creationId xmlns:a16="http://schemas.microsoft.com/office/drawing/2014/main" id="{8B86586B-B3CE-0A86-D477-7E98698D534E}"/>
                </a:ext>
              </a:extLst>
            </p:cNvPr>
            <p:cNvSpPr/>
            <p:nvPr/>
          </p:nvSpPr>
          <p:spPr>
            <a:xfrm>
              <a:off x="54102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1" name="Freeform 850">
              <a:extLst>
                <a:ext uri="{FF2B5EF4-FFF2-40B4-BE49-F238E27FC236}">
                  <a16:creationId xmlns:a16="http://schemas.microsoft.com/office/drawing/2014/main" id="{CDCBB7E0-C8A5-5214-9823-E01A74165F4D}"/>
                </a:ext>
              </a:extLst>
            </p:cNvPr>
            <p:cNvSpPr/>
            <p:nvPr/>
          </p:nvSpPr>
          <p:spPr>
            <a:xfrm>
              <a:off x="54102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2" name="Freeform 851">
              <a:extLst>
                <a:ext uri="{FF2B5EF4-FFF2-40B4-BE49-F238E27FC236}">
                  <a16:creationId xmlns:a16="http://schemas.microsoft.com/office/drawing/2014/main" id="{7D69FF00-8F88-718E-08BD-13A53244A918}"/>
                </a:ext>
              </a:extLst>
            </p:cNvPr>
            <p:cNvSpPr/>
            <p:nvPr/>
          </p:nvSpPr>
          <p:spPr>
            <a:xfrm>
              <a:off x="54102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3" name="Freeform 852">
              <a:extLst>
                <a:ext uri="{FF2B5EF4-FFF2-40B4-BE49-F238E27FC236}">
                  <a16:creationId xmlns:a16="http://schemas.microsoft.com/office/drawing/2014/main" id="{92BBC300-C329-6196-3EBF-A63C3B07B5A0}"/>
                </a:ext>
              </a:extLst>
            </p:cNvPr>
            <p:cNvSpPr/>
            <p:nvPr/>
          </p:nvSpPr>
          <p:spPr>
            <a:xfrm>
              <a:off x="54102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4" name="Freeform 853">
              <a:extLst>
                <a:ext uri="{FF2B5EF4-FFF2-40B4-BE49-F238E27FC236}">
                  <a16:creationId xmlns:a16="http://schemas.microsoft.com/office/drawing/2014/main" id="{73F5DE3D-E8A0-D28E-E59C-F97EC074A3BD}"/>
                </a:ext>
              </a:extLst>
            </p:cNvPr>
            <p:cNvSpPr/>
            <p:nvPr/>
          </p:nvSpPr>
          <p:spPr>
            <a:xfrm>
              <a:off x="54102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5" name="Freeform 854">
              <a:extLst>
                <a:ext uri="{FF2B5EF4-FFF2-40B4-BE49-F238E27FC236}">
                  <a16:creationId xmlns:a16="http://schemas.microsoft.com/office/drawing/2014/main" id="{3914299D-A7B5-010B-0B2E-FF677D4C546E}"/>
                </a:ext>
              </a:extLst>
            </p:cNvPr>
            <p:cNvSpPr/>
            <p:nvPr/>
          </p:nvSpPr>
          <p:spPr>
            <a:xfrm>
              <a:off x="54102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6" name="Freeform 855">
              <a:extLst>
                <a:ext uri="{FF2B5EF4-FFF2-40B4-BE49-F238E27FC236}">
                  <a16:creationId xmlns:a16="http://schemas.microsoft.com/office/drawing/2014/main" id="{3F877999-9ABC-0B20-4B11-6EABD9406F0F}"/>
                </a:ext>
              </a:extLst>
            </p:cNvPr>
            <p:cNvSpPr/>
            <p:nvPr/>
          </p:nvSpPr>
          <p:spPr>
            <a:xfrm>
              <a:off x="54102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7" name="Freeform 856">
              <a:extLst>
                <a:ext uri="{FF2B5EF4-FFF2-40B4-BE49-F238E27FC236}">
                  <a16:creationId xmlns:a16="http://schemas.microsoft.com/office/drawing/2014/main" id="{8BAB7151-5BC9-A13A-BF66-41DA6CE95387}"/>
                </a:ext>
              </a:extLst>
            </p:cNvPr>
            <p:cNvSpPr/>
            <p:nvPr/>
          </p:nvSpPr>
          <p:spPr>
            <a:xfrm>
              <a:off x="54102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8" name="Freeform 857">
              <a:extLst>
                <a:ext uri="{FF2B5EF4-FFF2-40B4-BE49-F238E27FC236}">
                  <a16:creationId xmlns:a16="http://schemas.microsoft.com/office/drawing/2014/main" id="{AA2918B3-7F72-63DA-0578-82D41B259423}"/>
                </a:ext>
              </a:extLst>
            </p:cNvPr>
            <p:cNvSpPr/>
            <p:nvPr/>
          </p:nvSpPr>
          <p:spPr>
            <a:xfrm>
              <a:off x="54102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9" name="Freeform 858">
              <a:extLst>
                <a:ext uri="{FF2B5EF4-FFF2-40B4-BE49-F238E27FC236}">
                  <a16:creationId xmlns:a16="http://schemas.microsoft.com/office/drawing/2014/main" id="{FC0C11CE-43CA-07A5-2C20-038D88FACB9A}"/>
                </a:ext>
              </a:extLst>
            </p:cNvPr>
            <p:cNvSpPr/>
            <p:nvPr/>
          </p:nvSpPr>
          <p:spPr>
            <a:xfrm>
              <a:off x="54102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0" name="Freeform 859">
              <a:extLst>
                <a:ext uri="{FF2B5EF4-FFF2-40B4-BE49-F238E27FC236}">
                  <a16:creationId xmlns:a16="http://schemas.microsoft.com/office/drawing/2014/main" id="{F9371AC0-48AB-8267-666E-137D33761966}"/>
                </a:ext>
              </a:extLst>
            </p:cNvPr>
            <p:cNvSpPr/>
            <p:nvPr/>
          </p:nvSpPr>
          <p:spPr>
            <a:xfrm>
              <a:off x="54102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1" name="Freeform 860">
              <a:extLst>
                <a:ext uri="{FF2B5EF4-FFF2-40B4-BE49-F238E27FC236}">
                  <a16:creationId xmlns:a16="http://schemas.microsoft.com/office/drawing/2014/main" id="{90BB3117-5E15-73EC-0E87-B600AB25261C}"/>
                </a:ext>
              </a:extLst>
            </p:cNvPr>
            <p:cNvSpPr/>
            <p:nvPr/>
          </p:nvSpPr>
          <p:spPr>
            <a:xfrm>
              <a:off x="54102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2" name="Freeform 861">
              <a:extLst>
                <a:ext uri="{FF2B5EF4-FFF2-40B4-BE49-F238E27FC236}">
                  <a16:creationId xmlns:a16="http://schemas.microsoft.com/office/drawing/2014/main" id="{160857F1-21F7-634C-AFFF-7CD24EAA14DB}"/>
                </a:ext>
              </a:extLst>
            </p:cNvPr>
            <p:cNvSpPr/>
            <p:nvPr/>
          </p:nvSpPr>
          <p:spPr>
            <a:xfrm>
              <a:off x="54102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3" name="Freeform 862">
              <a:extLst>
                <a:ext uri="{FF2B5EF4-FFF2-40B4-BE49-F238E27FC236}">
                  <a16:creationId xmlns:a16="http://schemas.microsoft.com/office/drawing/2014/main" id="{C778F6BD-9495-0D29-61F1-1322BBEAE97D}"/>
                </a:ext>
              </a:extLst>
            </p:cNvPr>
            <p:cNvSpPr/>
            <p:nvPr/>
          </p:nvSpPr>
          <p:spPr>
            <a:xfrm>
              <a:off x="54102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4" name="Freeform 863">
              <a:extLst>
                <a:ext uri="{FF2B5EF4-FFF2-40B4-BE49-F238E27FC236}">
                  <a16:creationId xmlns:a16="http://schemas.microsoft.com/office/drawing/2014/main" id="{357B2204-AC60-3B1D-9823-190A3E712027}"/>
                </a:ext>
              </a:extLst>
            </p:cNvPr>
            <p:cNvSpPr/>
            <p:nvPr/>
          </p:nvSpPr>
          <p:spPr>
            <a:xfrm>
              <a:off x="54102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5" name="Freeform 864">
              <a:extLst>
                <a:ext uri="{FF2B5EF4-FFF2-40B4-BE49-F238E27FC236}">
                  <a16:creationId xmlns:a16="http://schemas.microsoft.com/office/drawing/2014/main" id="{924E733A-9DDF-562F-A62E-7298836F8CB1}"/>
                </a:ext>
              </a:extLst>
            </p:cNvPr>
            <p:cNvSpPr/>
            <p:nvPr/>
          </p:nvSpPr>
          <p:spPr>
            <a:xfrm>
              <a:off x="54102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6" name="Freeform 865">
              <a:extLst>
                <a:ext uri="{FF2B5EF4-FFF2-40B4-BE49-F238E27FC236}">
                  <a16:creationId xmlns:a16="http://schemas.microsoft.com/office/drawing/2014/main" id="{F2B5899A-8B85-B735-F50A-9849AFB65C67}"/>
                </a:ext>
              </a:extLst>
            </p:cNvPr>
            <p:cNvSpPr/>
            <p:nvPr/>
          </p:nvSpPr>
          <p:spPr>
            <a:xfrm>
              <a:off x="55149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7" name="Freeform 866">
              <a:extLst>
                <a:ext uri="{FF2B5EF4-FFF2-40B4-BE49-F238E27FC236}">
                  <a16:creationId xmlns:a16="http://schemas.microsoft.com/office/drawing/2014/main" id="{E8620C00-218E-2F5C-52DC-7B1618B6C346}"/>
                </a:ext>
              </a:extLst>
            </p:cNvPr>
            <p:cNvSpPr/>
            <p:nvPr/>
          </p:nvSpPr>
          <p:spPr>
            <a:xfrm>
              <a:off x="55149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8" name="Freeform 867">
              <a:extLst>
                <a:ext uri="{FF2B5EF4-FFF2-40B4-BE49-F238E27FC236}">
                  <a16:creationId xmlns:a16="http://schemas.microsoft.com/office/drawing/2014/main" id="{272C703F-784E-AA67-44C5-C01AE51DEEE4}"/>
                </a:ext>
              </a:extLst>
            </p:cNvPr>
            <p:cNvSpPr/>
            <p:nvPr/>
          </p:nvSpPr>
          <p:spPr>
            <a:xfrm>
              <a:off x="55149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9" name="Freeform 868">
              <a:extLst>
                <a:ext uri="{FF2B5EF4-FFF2-40B4-BE49-F238E27FC236}">
                  <a16:creationId xmlns:a16="http://schemas.microsoft.com/office/drawing/2014/main" id="{50EC0ABF-3071-BF23-B375-7D716C32EAA0}"/>
                </a:ext>
              </a:extLst>
            </p:cNvPr>
            <p:cNvSpPr/>
            <p:nvPr/>
          </p:nvSpPr>
          <p:spPr>
            <a:xfrm>
              <a:off x="55149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0" name="Freeform 869">
              <a:extLst>
                <a:ext uri="{FF2B5EF4-FFF2-40B4-BE49-F238E27FC236}">
                  <a16:creationId xmlns:a16="http://schemas.microsoft.com/office/drawing/2014/main" id="{7039024E-3876-0B61-8DB7-16CF64E9AAD9}"/>
                </a:ext>
              </a:extLst>
            </p:cNvPr>
            <p:cNvSpPr/>
            <p:nvPr/>
          </p:nvSpPr>
          <p:spPr>
            <a:xfrm>
              <a:off x="55149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1" name="Freeform 870">
              <a:extLst>
                <a:ext uri="{FF2B5EF4-FFF2-40B4-BE49-F238E27FC236}">
                  <a16:creationId xmlns:a16="http://schemas.microsoft.com/office/drawing/2014/main" id="{8ABE456D-392B-C60F-E1AB-A9BB3A3296BB}"/>
                </a:ext>
              </a:extLst>
            </p:cNvPr>
            <p:cNvSpPr/>
            <p:nvPr/>
          </p:nvSpPr>
          <p:spPr>
            <a:xfrm>
              <a:off x="55149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2" name="Freeform 871">
              <a:extLst>
                <a:ext uri="{FF2B5EF4-FFF2-40B4-BE49-F238E27FC236}">
                  <a16:creationId xmlns:a16="http://schemas.microsoft.com/office/drawing/2014/main" id="{45D5BC5C-84AA-1230-4B32-82B4D572F7C5}"/>
                </a:ext>
              </a:extLst>
            </p:cNvPr>
            <p:cNvSpPr/>
            <p:nvPr/>
          </p:nvSpPr>
          <p:spPr>
            <a:xfrm>
              <a:off x="55149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3" name="Freeform 872">
              <a:extLst>
                <a:ext uri="{FF2B5EF4-FFF2-40B4-BE49-F238E27FC236}">
                  <a16:creationId xmlns:a16="http://schemas.microsoft.com/office/drawing/2014/main" id="{3A3DB9F9-E721-16F8-5943-120D97229963}"/>
                </a:ext>
              </a:extLst>
            </p:cNvPr>
            <p:cNvSpPr/>
            <p:nvPr/>
          </p:nvSpPr>
          <p:spPr>
            <a:xfrm>
              <a:off x="55149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4" name="Freeform 873">
              <a:extLst>
                <a:ext uri="{FF2B5EF4-FFF2-40B4-BE49-F238E27FC236}">
                  <a16:creationId xmlns:a16="http://schemas.microsoft.com/office/drawing/2014/main" id="{DFBE4C38-9ADE-FD17-EF45-DCEE0ADB8078}"/>
                </a:ext>
              </a:extLst>
            </p:cNvPr>
            <p:cNvSpPr/>
            <p:nvPr/>
          </p:nvSpPr>
          <p:spPr>
            <a:xfrm>
              <a:off x="55149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5" name="Freeform 874">
              <a:extLst>
                <a:ext uri="{FF2B5EF4-FFF2-40B4-BE49-F238E27FC236}">
                  <a16:creationId xmlns:a16="http://schemas.microsoft.com/office/drawing/2014/main" id="{A2149A38-3CBB-E9F3-C9CA-1D315FD5B1C9}"/>
                </a:ext>
              </a:extLst>
            </p:cNvPr>
            <p:cNvSpPr/>
            <p:nvPr/>
          </p:nvSpPr>
          <p:spPr>
            <a:xfrm>
              <a:off x="55149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6" name="Freeform 875">
              <a:extLst>
                <a:ext uri="{FF2B5EF4-FFF2-40B4-BE49-F238E27FC236}">
                  <a16:creationId xmlns:a16="http://schemas.microsoft.com/office/drawing/2014/main" id="{0C7D4CDE-101F-80F6-236E-C14B276E1C95}"/>
                </a:ext>
              </a:extLst>
            </p:cNvPr>
            <p:cNvSpPr/>
            <p:nvPr/>
          </p:nvSpPr>
          <p:spPr>
            <a:xfrm>
              <a:off x="551497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7" name="Freeform 876">
              <a:extLst>
                <a:ext uri="{FF2B5EF4-FFF2-40B4-BE49-F238E27FC236}">
                  <a16:creationId xmlns:a16="http://schemas.microsoft.com/office/drawing/2014/main" id="{9E381829-BDD4-0731-6D1A-CE72897FC470}"/>
                </a:ext>
              </a:extLst>
            </p:cNvPr>
            <p:cNvSpPr/>
            <p:nvPr/>
          </p:nvSpPr>
          <p:spPr>
            <a:xfrm>
              <a:off x="55149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8" name="Freeform 877">
              <a:extLst>
                <a:ext uri="{FF2B5EF4-FFF2-40B4-BE49-F238E27FC236}">
                  <a16:creationId xmlns:a16="http://schemas.microsoft.com/office/drawing/2014/main" id="{36DA759E-9343-8CA6-5E77-F400519632F2}"/>
                </a:ext>
              </a:extLst>
            </p:cNvPr>
            <p:cNvSpPr/>
            <p:nvPr/>
          </p:nvSpPr>
          <p:spPr>
            <a:xfrm>
              <a:off x="55149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9" name="Freeform 878">
              <a:extLst>
                <a:ext uri="{FF2B5EF4-FFF2-40B4-BE49-F238E27FC236}">
                  <a16:creationId xmlns:a16="http://schemas.microsoft.com/office/drawing/2014/main" id="{3E999095-388F-1482-C771-04CF5D3F5BBB}"/>
                </a:ext>
              </a:extLst>
            </p:cNvPr>
            <p:cNvSpPr/>
            <p:nvPr/>
          </p:nvSpPr>
          <p:spPr>
            <a:xfrm>
              <a:off x="55149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0" name="Freeform 879">
              <a:extLst>
                <a:ext uri="{FF2B5EF4-FFF2-40B4-BE49-F238E27FC236}">
                  <a16:creationId xmlns:a16="http://schemas.microsoft.com/office/drawing/2014/main" id="{C1F1C604-BEAD-228C-B535-1C717C5963FA}"/>
                </a:ext>
              </a:extLst>
            </p:cNvPr>
            <p:cNvSpPr/>
            <p:nvPr/>
          </p:nvSpPr>
          <p:spPr>
            <a:xfrm>
              <a:off x="55149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1" name="Freeform 880">
              <a:extLst>
                <a:ext uri="{FF2B5EF4-FFF2-40B4-BE49-F238E27FC236}">
                  <a16:creationId xmlns:a16="http://schemas.microsoft.com/office/drawing/2014/main" id="{3B9DB681-A922-78DD-2B66-0E6A36F20E23}"/>
                </a:ext>
              </a:extLst>
            </p:cNvPr>
            <p:cNvSpPr/>
            <p:nvPr/>
          </p:nvSpPr>
          <p:spPr>
            <a:xfrm>
              <a:off x="55149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2" name="Freeform 881">
              <a:extLst>
                <a:ext uri="{FF2B5EF4-FFF2-40B4-BE49-F238E27FC236}">
                  <a16:creationId xmlns:a16="http://schemas.microsoft.com/office/drawing/2014/main" id="{F6D3F9A8-0400-B419-9BE1-37EE5AEE639D}"/>
                </a:ext>
              </a:extLst>
            </p:cNvPr>
            <p:cNvSpPr/>
            <p:nvPr/>
          </p:nvSpPr>
          <p:spPr>
            <a:xfrm>
              <a:off x="56197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3" name="Freeform 882">
              <a:extLst>
                <a:ext uri="{FF2B5EF4-FFF2-40B4-BE49-F238E27FC236}">
                  <a16:creationId xmlns:a16="http://schemas.microsoft.com/office/drawing/2014/main" id="{2455CA2B-BB94-F5DF-AAEE-630B8090E06F}"/>
                </a:ext>
              </a:extLst>
            </p:cNvPr>
            <p:cNvSpPr/>
            <p:nvPr/>
          </p:nvSpPr>
          <p:spPr>
            <a:xfrm>
              <a:off x="56197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4" name="Freeform 883">
              <a:extLst>
                <a:ext uri="{FF2B5EF4-FFF2-40B4-BE49-F238E27FC236}">
                  <a16:creationId xmlns:a16="http://schemas.microsoft.com/office/drawing/2014/main" id="{5E8ABF7D-DFAC-A74F-C256-275292D3C4D8}"/>
                </a:ext>
              </a:extLst>
            </p:cNvPr>
            <p:cNvSpPr/>
            <p:nvPr/>
          </p:nvSpPr>
          <p:spPr>
            <a:xfrm>
              <a:off x="56197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5" name="Freeform 884">
              <a:extLst>
                <a:ext uri="{FF2B5EF4-FFF2-40B4-BE49-F238E27FC236}">
                  <a16:creationId xmlns:a16="http://schemas.microsoft.com/office/drawing/2014/main" id="{564C05F2-D07C-6FD0-B39F-83409073C3EC}"/>
                </a:ext>
              </a:extLst>
            </p:cNvPr>
            <p:cNvSpPr/>
            <p:nvPr/>
          </p:nvSpPr>
          <p:spPr>
            <a:xfrm>
              <a:off x="56197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6" name="Freeform 885">
              <a:extLst>
                <a:ext uri="{FF2B5EF4-FFF2-40B4-BE49-F238E27FC236}">
                  <a16:creationId xmlns:a16="http://schemas.microsoft.com/office/drawing/2014/main" id="{7E0F06AD-70BD-234C-3536-8FE157A7B77C}"/>
                </a:ext>
              </a:extLst>
            </p:cNvPr>
            <p:cNvSpPr/>
            <p:nvPr/>
          </p:nvSpPr>
          <p:spPr>
            <a:xfrm>
              <a:off x="56197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7" name="Freeform 886">
              <a:extLst>
                <a:ext uri="{FF2B5EF4-FFF2-40B4-BE49-F238E27FC236}">
                  <a16:creationId xmlns:a16="http://schemas.microsoft.com/office/drawing/2014/main" id="{23A22A77-2F8A-451B-68D7-E9E34A270498}"/>
                </a:ext>
              </a:extLst>
            </p:cNvPr>
            <p:cNvSpPr/>
            <p:nvPr/>
          </p:nvSpPr>
          <p:spPr>
            <a:xfrm>
              <a:off x="56197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8" name="Freeform 887">
              <a:extLst>
                <a:ext uri="{FF2B5EF4-FFF2-40B4-BE49-F238E27FC236}">
                  <a16:creationId xmlns:a16="http://schemas.microsoft.com/office/drawing/2014/main" id="{7F38A030-B24E-5A92-78B0-BECBA1FD3895}"/>
                </a:ext>
              </a:extLst>
            </p:cNvPr>
            <p:cNvSpPr/>
            <p:nvPr/>
          </p:nvSpPr>
          <p:spPr>
            <a:xfrm>
              <a:off x="56197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9" name="Freeform 888">
              <a:extLst>
                <a:ext uri="{FF2B5EF4-FFF2-40B4-BE49-F238E27FC236}">
                  <a16:creationId xmlns:a16="http://schemas.microsoft.com/office/drawing/2014/main" id="{5FAA9D4F-7C32-3903-29EC-520EE08F2E22}"/>
                </a:ext>
              </a:extLst>
            </p:cNvPr>
            <p:cNvSpPr/>
            <p:nvPr/>
          </p:nvSpPr>
          <p:spPr>
            <a:xfrm>
              <a:off x="56197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0" name="Freeform 889">
              <a:extLst>
                <a:ext uri="{FF2B5EF4-FFF2-40B4-BE49-F238E27FC236}">
                  <a16:creationId xmlns:a16="http://schemas.microsoft.com/office/drawing/2014/main" id="{78F94511-3FAC-103D-B8C2-6971CDE4C9E3}"/>
                </a:ext>
              </a:extLst>
            </p:cNvPr>
            <p:cNvSpPr/>
            <p:nvPr/>
          </p:nvSpPr>
          <p:spPr>
            <a:xfrm>
              <a:off x="56197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1" name="Freeform 890">
              <a:extLst>
                <a:ext uri="{FF2B5EF4-FFF2-40B4-BE49-F238E27FC236}">
                  <a16:creationId xmlns:a16="http://schemas.microsoft.com/office/drawing/2014/main" id="{6165DC94-3994-F733-567D-BD11DFFBA688}"/>
                </a:ext>
              </a:extLst>
            </p:cNvPr>
            <p:cNvSpPr/>
            <p:nvPr/>
          </p:nvSpPr>
          <p:spPr>
            <a:xfrm>
              <a:off x="56197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2" name="Freeform 891">
              <a:extLst>
                <a:ext uri="{FF2B5EF4-FFF2-40B4-BE49-F238E27FC236}">
                  <a16:creationId xmlns:a16="http://schemas.microsoft.com/office/drawing/2014/main" id="{695BF36A-9193-5B62-50E7-CE88D4AF94AB}"/>
                </a:ext>
              </a:extLst>
            </p:cNvPr>
            <p:cNvSpPr/>
            <p:nvPr/>
          </p:nvSpPr>
          <p:spPr>
            <a:xfrm>
              <a:off x="56197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3" name="Freeform 892">
              <a:extLst>
                <a:ext uri="{FF2B5EF4-FFF2-40B4-BE49-F238E27FC236}">
                  <a16:creationId xmlns:a16="http://schemas.microsoft.com/office/drawing/2014/main" id="{45378400-E2BA-6EB9-EBF8-4E7AFC373F36}"/>
                </a:ext>
              </a:extLst>
            </p:cNvPr>
            <p:cNvSpPr/>
            <p:nvPr/>
          </p:nvSpPr>
          <p:spPr>
            <a:xfrm>
              <a:off x="56197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4" name="Freeform 893">
              <a:extLst>
                <a:ext uri="{FF2B5EF4-FFF2-40B4-BE49-F238E27FC236}">
                  <a16:creationId xmlns:a16="http://schemas.microsoft.com/office/drawing/2014/main" id="{7D01B654-9E17-6992-63DA-613F92D13FA8}"/>
                </a:ext>
              </a:extLst>
            </p:cNvPr>
            <p:cNvSpPr/>
            <p:nvPr/>
          </p:nvSpPr>
          <p:spPr>
            <a:xfrm>
              <a:off x="57245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5" name="Freeform 894">
              <a:extLst>
                <a:ext uri="{FF2B5EF4-FFF2-40B4-BE49-F238E27FC236}">
                  <a16:creationId xmlns:a16="http://schemas.microsoft.com/office/drawing/2014/main" id="{93A670CA-0DC6-4CD7-E977-C51B3CC2E8D2}"/>
                </a:ext>
              </a:extLst>
            </p:cNvPr>
            <p:cNvSpPr/>
            <p:nvPr/>
          </p:nvSpPr>
          <p:spPr>
            <a:xfrm>
              <a:off x="57245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6" name="Freeform 895">
              <a:extLst>
                <a:ext uri="{FF2B5EF4-FFF2-40B4-BE49-F238E27FC236}">
                  <a16:creationId xmlns:a16="http://schemas.microsoft.com/office/drawing/2014/main" id="{3EBC22F6-EA4B-8151-9E1E-3CF66B6FD380}"/>
                </a:ext>
              </a:extLst>
            </p:cNvPr>
            <p:cNvSpPr/>
            <p:nvPr/>
          </p:nvSpPr>
          <p:spPr>
            <a:xfrm>
              <a:off x="57245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7" name="Freeform 896">
              <a:extLst>
                <a:ext uri="{FF2B5EF4-FFF2-40B4-BE49-F238E27FC236}">
                  <a16:creationId xmlns:a16="http://schemas.microsoft.com/office/drawing/2014/main" id="{62CF7ED6-914C-706B-6BF8-82793271A619}"/>
                </a:ext>
              </a:extLst>
            </p:cNvPr>
            <p:cNvSpPr/>
            <p:nvPr/>
          </p:nvSpPr>
          <p:spPr>
            <a:xfrm>
              <a:off x="57245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8" name="Freeform 897">
              <a:extLst>
                <a:ext uri="{FF2B5EF4-FFF2-40B4-BE49-F238E27FC236}">
                  <a16:creationId xmlns:a16="http://schemas.microsoft.com/office/drawing/2014/main" id="{8DF3B933-45A3-258A-E593-231F2B068193}"/>
                </a:ext>
              </a:extLst>
            </p:cNvPr>
            <p:cNvSpPr/>
            <p:nvPr/>
          </p:nvSpPr>
          <p:spPr>
            <a:xfrm>
              <a:off x="57245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9" name="Freeform 898">
              <a:extLst>
                <a:ext uri="{FF2B5EF4-FFF2-40B4-BE49-F238E27FC236}">
                  <a16:creationId xmlns:a16="http://schemas.microsoft.com/office/drawing/2014/main" id="{A4BB5056-2C76-CE42-E102-643C910DDFD7}"/>
                </a:ext>
              </a:extLst>
            </p:cNvPr>
            <p:cNvSpPr/>
            <p:nvPr/>
          </p:nvSpPr>
          <p:spPr>
            <a:xfrm>
              <a:off x="57245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0" name="Freeform 899">
              <a:extLst>
                <a:ext uri="{FF2B5EF4-FFF2-40B4-BE49-F238E27FC236}">
                  <a16:creationId xmlns:a16="http://schemas.microsoft.com/office/drawing/2014/main" id="{C3FD8FB5-7088-E3FE-FE8D-25B7699AF80E}"/>
                </a:ext>
              </a:extLst>
            </p:cNvPr>
            <p:cNvSpPr/>
            <p:nvPr/>
          </p:nvSpPr>
          <p:spPr>
            <a:xfrm>
              <a:off x="57245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1" name="Freeform 900">
              <a:extLst>
                <a:ext uri="{FF2B5EF4-FFF2-40B4-BE49-F238E27FC236}">
                  <a16:creationId xmlns:a16="http://schemas.microsoft.com/office/drawing/2014/main" id="{0D48E209-6567-DE47-98C9-D198B3B94FF4}"/>
                </a:ext>
              </a:extLst>
            </p:cNvPr>
            <p:cNvSpPr/>
            <p:nvPr/>
          </p:nvSpPr>
          <p:spPr>
            <a:xfrm>
              <a:off x="57245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2" name="Freeform 901">
              <a:extLst>
                <a:ext uri="{FF2B5EF4-FFF2-40B4-BE49-F238E27FC236}">
                  <a16:creationId xmlns:a16="http://schemas.microsoft.com/office/drawing/2014/main" id="{0FE8E09A-191B-6E6C-6E22-9C47D598734A}"/>
                </a:ext>
              </a:extLst>
            </p:cNvPr>
            <p:cNvSpPr/>
            <p:nvPr/>
          </p:nvSpPr>
          <p:spPr>
            <a:xfrm>
              <a:off x="57245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3" name="Freeform 902">
              <a:extLst>
                <a:ext uri="{FF2B5EF4-FFF2-40B4-BE49-F238E27FC236}">
                  <a16:creationId xmlns:a16="http://schemas.microsoft.com/office/drawing/2014/main" id="{E4DFF14E-5FAA-39B4-30B2-7B28A42B9638}"/>
                </a:ext>
              </a:extLst>
            </p:cNvPr>
            <p:cNvSpPr/>
            <p:nvPr/>
          </p:nvSpPr>
          <p:spPr>
            <a:xfrm>
              <a:off x="57245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4" name="Freeform 903">
              <a:extLst>
                <a:ext uri="{FF2B5EF4-FFF2-40B4-BE49-F238E27FC236}">
                  <a16:creationId xmlns:a16="http://schemas.microsoft.com/office/drawing/2014/main" id="{F045BB19-B5C9-5C04-EE72-E059B64C78D7}"/>
                </a:ext>
              </a:extLst>
            </p:cNvPr>
            <p:cNvSpPr/>
            <p:nvPr/>
          </p:nvSpPr>
          <p:spPr>
            <a:xfrm>
              <a:off x="57245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5" name="Freeform 904">
              <a:extLst>
                <a:ext uri="{FF2B5EF4-FFF2-40B4-BE49-F238E27FC236}">
                  <a16:creationId xmlns:a16="http://schemas.microsoft.com/office/drawing/2014/main" id="{0B0F1E16-E416-DBB6-29D5-B1E055CA1015}"/>
                </a:ext>
              </a:extLst>
            </p:cNvPr>
            <p:cNvSpPr/>
            <p:nvPr/>
          </p:nvSpPr>
          <p:spPr>
            <a:xfrm>
              <a:off x="57245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6" name="Freeform 905">
              <a:extLst>
                <a:ext uri="{FF2B5EF4-FFF2-40B4-BE49-F238E27FC236}">
                  <a16:creationId xmlns:a16="http://schemas.microsoft.com/office/drawing/2014/main" id="{91ABAA11-01A3-7AFC-E39E-96757DCEF904}"/>
                </a:ext>
              </a:extLst>
            </p:cNvPr>
            <p:cNvSpPr/>
            <p:nvPr/>
          </p:nvSpPr>
          <p:spPr>
            <a:xfrm>
              <a:off x="57245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7" name="Freeform 906">
              <a:extLst>
                <a:ext uri="{FF2B5EF4-FFF2-40B4-BE49-F238E27FC236}">
                  <a16:creationId xmlns:a16="http://schemas.microsoft.com/office/drawing/2014/main" id="{DE155B71-6BEF-BBD6-B81A-5689905660D2}"/>
                </a:ext>
              </a:extLst>
            </p:cNvPr>
            <p:cNvSpPr/>
            <p:nvPr/>
          </p:nvSpPr>
          <p:spPr>
            <a:xfrm>
              <a:off x="57245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8" name="Freeform 907">
              <a:extLst>
                <a:ext uri="{FF2B5EF4-FFF2-40B4-BE49-F238E27FC236}">
                  <a16:creationId xmlns:a16="http://schemas.microsoft.com/office/drawing/2014/main" id="{465A501F-0636-27A2-5C33-9AE0E5DD614E}"/>
                </a:ext>
              </a:extLst>
            </p:cNvPr>
            <p:cNvSpPr/>
            <p:nvPr/>
          </p:nvSpPr>
          <p:spPr>
            <a:xfrm>
              <a:off x="57245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9" name="Freeform 908">
              <a:extLst>
                <a:ext uri="{FF2B5EF4-FFF2-40B4-BE49-F238E27FC236}">
                  <a16:creationId xmlns:a16="http://schemas.microsoft.com/office/drawing/2014/main" id="{845FB5F4-209F-5177-FDCF-316DF1EBD3D3}"/>
                </a:ext>
              </a:extLst>
            </p:cNvPr>
            <p:cNvSpPr/>
            <p:nvPr/>
          </p:nvSpPr>
          <p:spPr>
            <a:xfrm>
              <a:off x="57245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0" name="Freeform 909">
              <a:extLst>
                <a:ext uri="{FF2B5EF4-FFF2-40B4-BE49-F238E27FC236}">
                  <a16:creationId xmlns:a16="http://schemas.microsoft.com/office/drawing/2014/main" id="{DF090C35-850F-3D81-C184-EDACB8746CB8}"/>
                </a:ext>
              </a:extLst>
            </p:cNvPr>
            <p:cNvSpPr/>
            <p:nvPr/>
          </p:nvSpPr>
          <p:spPr>
            <a:xfrm>
              <a:off x="57245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DE89A05E-B393-16A0-CFD3-CFFC3B7F919B}"/>
                </a:ext>
              </a:extLst>
            </p:cNvPr>
            <p:cNvSpPr/>
            <p:nvPr/>
          </p:nvSpPr>
          <p:spPr>
            <a:xfrm>
              <a:off x="57245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5C12784C-5592-075E-3EFB-E2DFDD5EE4FD}"/>
                </a:ext>
              </a:extLst>
            </p:cNvPr>
            <p:cNvSpPr/>
            <p:nvPr/>
          </p:nvSpPr>
          <p:spPr>
            <a:xfrm>
              <a:off x="57245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290D37F-7359-3AF1-BF1A-5AF4B1829FBB}"/>
                </a:ext>
              </a:extLst>
            </p:cNvPr>
            <p:cNvSpPr/>
            <p:nvPr/>
          </p:nvSpPr>
          <p:spPr>
            <a:xfrm>
              <a:off x="58293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CB4E721D-203F-904C-672E-CAA65E971856}"/>
                </a:ext>
              </a:extLst>
            </p:cNvPr>
            <p:cNvSpPr/>
            <p:nvPr/>
          </p:nvSpPr>
          <p:spPr>
            <a:xfrm>
              <a:off x="58293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8330319D-82B8-02AC-53AC-3F5BB4237592}"/>
                </a:ext>
              </a:extLst>
            </p:cNvPr>
            <p:cNvSpPr/>
            <p:nvPr/>
          </p:nvSpPr>
          <p:spPr>
            <a:xfrm>
              <a:off x="58293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C956BDC-8646-A2C7-A357-9A5231167117}"/>
                </a:ext>
              </a:extLst>
            </p:cNvPr>
            <p:cNvSpPr/>
            <p:nvPr/>
          </p:nvSpPr>
          <p:spPr>
            <a:xfrm>
              <a:off x="58293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00145613-6EA0-C704-3EBD-7B991816DBFD}"/>
                </a:ext>
              </a:extLst>
            </p:cNvPr>
            <p:cNvSpPr/>
            <p:nvPr/>
          </p:nvSpPr>
          <p:spPr>
            <a:xfrm>
              <a:off x="58293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EE73CE0D-FCE0-F1FF-20BC-D41F218FED84}"/>
                </a:ext>
              </a:extLst>
            </p:cNvPr>
            <p:cNvSpPr/>
            <p:nvPr/>
          </p:nvSpPr>
          <p:spPr>
            <a:xfrm>
              <a:off x="58293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9715D42A-787D-9713-0C1B-957F17173DE3}"/>
                </a:ext>
              </a:extLst>
            </p:cNvPr>
            <p:cNvSpPr/>
            <p:nvPr/>
          </p:nvSpPr>
          <p:spPr>
            <a:xfrm>
              <a:off x="58293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F320E518-DA04-8D1C-3945-583840DDB78A}"/>
                </a:ext>
              </a:extLst>
            </p:cNvPr>
            <p:cNvSpPr/>
            <p:nvPr/>
          </p:nvSpPr>
          <p:spPr>
            <a:xfrm>
              <a:off x="58293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93015692-75F2-BFFA-3D5E-67E7ED4CA023}"/>
                </a:ext>
              </a:extLst>
            </p:cNvPr>
            <p:cNvSpPr/>
            <p:nvPr/>
          </p:nvSpPr>
          <p:spPr>
            <a:xfrm>
              <a:off x="58293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8FFE25CC-AFBC-4046-4508-FE0776709B43}"/>
                </a:ext>
              </a:extLst>
            </p:cNvPr>
            <p:cNvSpPr/>
            <p:nvPr/>
          </p:nvSpPr>
          <p:spPr>
            <a:xfrm>
              <a:off x="58293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94F21E7C-BFC3-4B78-6125-90F2DA44EBBF}"/>
                </a:ext>
              </a:extLst>
            </p:cNvPr>
            <p:cNvSpPr/>
            <p:nvPr/>
          </p:nvSpPr>
          <p:spPr>
            <a:xfrm>
              <a:off x="58293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4C643867-908C-0831-C85D-000F8F9AA8C7}"/>
                </a:ext>
              </a:extLst>
            </p:cNvPr>
            <p:cNvSpPr/>
            <p:nvPr/>
          </p:nvSpPr>
          <p:spPr>
            <a:xfrm>
              <a:off x="58293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DF1C8176-4531-987B-9AFF-9CF4980BFE76}"/>
                </a:ext>
              </a:extLst>
            </p:cNvPr>
            <p:cNvSpPr/>
            <p:nvPr/>
          </p:nvSpPr>
          <p:spPr>
            <a:xfrm>
              <a:off x="58293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6A0E7EF7-9B2F-9606-6C6A-D3A90DB76E84}"/>
                </a:ext>
              </a:extLst>
            </p:cNvPr>
            <p:cNvSpPr/>
            <p:nvPr/>
          </p:nvSpPr>
          <p:spPr>
            <a:xfrm>
              <a:off x="58293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16F1C5E-FCDD-31B8-24DD-CF321F75E558}"/>
                </a:ext>
              </a:extLst>
            </p:cNvPr>
            <p:cNvSpPr/>
            <p:nvPr/>
          </p:nvSpPr>
          <p:spPr>
            <a:xfrm>
              <a:off x="58293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BAE56831-FB94-6D8F-626D-6ABAAC3699A0}"/>
                </a:ext>
              </a:extLst>
            </p:cNvPr>
            <p:cNvSpPr/>
            <p:nvPr/>
          </p:nvSpPr>
          <p:spPr>
            <a:xfrm>
              <a:off x="59340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C7A125AE-C425-7242-9A83-45A22EFBA783}"/>
                </a:ext>
              </a:extLst>
            </p:cNvPr>
            <p:cNvSpPr/>
            <p:nvPr/>
          </p:nvSpPr>
          <p:spPr>
            <a:xfrm>
              <a:off x="593407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0CEAFE23-CA2A-EBC3-2395-BED7237F74FE}"/>
                </a:ext>
              </a:extLst>
            </p:cNvPr>
            <p:cNvSpPr/>
            <p:nvPr/>
          </p:nvSpPr>
          <p:spPr>
            <a:xfrm>
              <a:off x="59340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3A50E48D-515A-1185-4E21-0DDB54F56D20}"/>
                </a:ext>
              </a:extLst>
            </p:cNvPr>
            <p:cNvSpPr/>
            <p:nvPr/>
          </p:nvSpPr>
          <p:spPr>
            <a:xfrm>
              <a:off x="59340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8FA5333E-8AD4-0E75-52A8-2448B0641E24}"/>
                </a:ext>
              </a:extLst>
            </p:cNvPr>
            <p:cNvSpPr/>
            <p:nvPr/>
          </p:nvSpPr>
          <p:spPr>
            <a:xfrm>
              <a:off x="59340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88FB2D5E-FF2B-D613-5EBD-4A8E6C2E1576}"/>
                </a:ext>
              </a:extLst>
            </p:cNvPr>
            <p:cNvSpPr/>
            <p:nvPr/>
          </p:nvSpPr>
          <p:spPr>
            <a:xfrm>
              <a:off x="59340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987E7161-CDF2-3749-AA0D-BF1A954AD0F6}"/>
                </a:ext>
              </a:extLst>
            </p:cNvPr>
            <p:cNvSpPr/>
            <p:nvPr/>
          </p:nvSpPr>
          <p:spPr>
            <a:xfrm>
              <a:off x="59340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4AE62DD4-589C-4E81-30DD-9D397AA26A7B}"/>
                </a:ext>
              </a:extLst>
            </p:cNvPr>
            <p:cNvSpPr/>
            <p:nvPr/>
          </p:nvSpPr>
          <p:spPr>
            <a:xfrm>
              <a:off x="59340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63BCB899-7528-5CE6-F49F-B3C6EDDDE447}"/>
                </a:ext>
              </a:extLst>
            </p:cNvPr>
            <p:cNvSpPr/>
            <p:nvPr/>
          </p:nvSpPr>
          <p:spPr>
            <a:xfrm>
              <a:off x="59340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6F02B149-598F-4F9D-BC8B-DD97BB2C66DE}"/>
                </a:ext>
              </a:extLst>
            </p:cNvPr>
            <p:cNvSpPr/>
            <p:nvPr/>
          </p:nvSpPr>
          <p:spPr>
            <a:xfrm>
              <a:off x="59340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E406F487-354F-D05C-1FE1-ABCEC73EB6AF}"/>
                </a:ext>
              </a:extLst>
            </p:cNvPr>
            <p:cNvSpPr/>
            <p:nvPr/>
          </p:nvSpPr>
          <p:spPr>
            <a:xfrm>
              <a:off x="59340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8D77C165-D4F6-ADD9-98C0-56E48C97EB0A}"/>
                </a:ext>
              </a:extLst>
            </p:cNvPr>
            <p:cNvSpPr/>
            <p:nvPr/>
          </p:nvSpPr>
          <p:spPr>
            <a:xfrm>
              <a:off x="59340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561FA35B-CB4E-15BA-D500-87D2B158B6E8}"/>
                </a:ext>
              </a:extLst>
            </p:cNvPr>
            <p:cNvSpPr/>
            <p:nvPr/>
          </p:nvSpPr>
          <p:spPr>
            <a:xfrm>
              <a:off x="59340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950157BD-051C-7660-E39B-0BACC14E767D}"/>
                </a:ext>
              </a:extLst>
            </p:cNvPr>
            <p:cNvSpPr/>
            <p:nvPr/>
          </p:nvSpPr>
          <p:spPr>
            <a:xfrm>
              <a:off x="59340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8D9D3670-6EF6-BC5B-4B85-61D95B42C63E}"/>
                </a:ext>
              </a:extLst>
            </p:cNvPr>
            <p:cNvSpPr/>
            <p:nvPr/>
          </p:nvSpPr>
          <p:spPr>
            <a:xfrm>
              <a:off x="59340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D2D049F7-8233-099E-FA95-24A0ECEFE1B1}"/>
                </a:ext>
              </a:extLst>
            </p:cNvPr>
            <p:cNvSpPr/>
            <p:nvPr/>
          </p:nvSpPr>
          <p:spPr>
            <a:xfrm>
              <a:off x="59340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0395E307-B01F-9B90-2F47-11FB073D1678}"/>
                </a:ext>
              </a:extLst>
            </p:cNvPr>
            <p:cNvSpPr/>
            <p:nvPr/>
          </p:nvSpPr>
          <p:spPr>
            <a:xfrm>
              <a:off x="59340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DA6E4C55-A245-EA22-8598-527C1C786D07}"/>
                </a:ext>
              </a:extLst>
            </p:cNvPr>
            <p:cNvSpPr/>
            <p:nvPr/>
          </p:nvSpPr>
          <p:spPr>
            <a:xfrm>
              <a:off x="60388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044A6B7D-BB51-2465-9625-614675A6D914}"/>
                </a:ext>
              </a:extLst>
            </p:cNvPr>
            <p:cNvSpPr/>
            <p:nvPr/>
          </p:nvSpPr>
          <p:spPr>
            <a:xfrm>
              <a:off x="60388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D7B13CD3-4EBD-99F8-2F75-3D4BA95EE948}"/>
                </a:ext>
              </a:extLst>
            </p:cNvPr>
            <p:cNvSpPr/>
            <p:nvPr/>
          </p:nvSpPr>
          <p:spPr>
            <a:xfrm>
              <a:off x="60388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1CFE40EA-0EE5-3441-7646-04C832FBC644}"/>
                </a:ext>
              </a:extLst>
            </p:cNvPr>
            <p:cNvSpPr/>
            <p:nvPr/>
          </p:nvSpPr>
          <p:spPr>
            <a:xfrm>
              <a:off x="60388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17870F45-C541-FB7C-E139-8E188F3188D5}"/>
                </a:ext>
              </a:extLst>
            </p:cNvPr>
            <p:cNvSpPr/>
            <p:nvPr/>
          </p:nvSpPr>
          <p:spPr>
            <a:xfrm>
              <a:off x="60388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2BAEBCC9-541F-2F46-0E0B-03F31B46B094}"/>
                </a:ext>
              </a:extLst>
            </p:cNvPr>
            <p:cNvSpPr/>
            <p:nvPr/>
          </p:nvSpPr>
          <p:spPr>
            <a:xfrm>
              <a:off x="60388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C9A82ADF-467C-3DCD-F4A5-F79391F5AB60}"/>
                </a:ext>
              </a:extLst>
            </p:cNvPr>
            <p:cNvSpPr/>
            <p:nvPr/>
          </p:nvSpPr>
          <p:spPr>
            <a:xfrm>
              <a:off x="60388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072EE11-6224-06AD-EC3D-B2BCF33B5D4D}"/>
                </a:ext>
              </a:extLst>
            </p:cNvPr>
            <p:cNvSpPr/>
            <p:nvPr/>
          </p:nvSpPr>
          <p:spPr>
            <a:xfrm>
              <a:off x="60388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2696A7EC-9D5D-BF7E-DBAF-E847C175A477}"/>
                </a:ext>
              </a:extLst>
            </p:cNvPr>
            <p:cNvSpPr/>
            <p:nvPr/>
          </p:nvSpPr>
          <p:spPr>
            <a:xfrm>
              <a:off x="60388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0FA39636-45EA-03C5-8629-EA89C621F11E}"/>
                </a:ext>
              </a:extLst>
            </p:cNvPr>
            <p:cNvSpPr/>
            <p:nvPr/>
          </p:nvSpPr>
          <p:spPr>
            <a:xfrm>
              <a:off x="60388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4176C605-2F89-4027-26E9-F89BC891D590}"/>
                </a:ext>
              </a:extLst>
            </p:cNvPr>
            <p:cNvSpPr/>
            <p:nvPr/>
          </p:nvSpPr>
          <p:spPr>
            <a:xfrm>
              <a:off x="60388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5D64EFFA-327C-7360-DFB2-AEC44730A422}"/>
                </a:ext>
              </a:extLst>
            </p:cNvPr>
            <p:cNvSpPr/>
            <p:nvPr/>
          </p:nvSpPr>
          <p:spPr>
            <a:xfrm>
              <a:off x="60388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E13F021C-25F0-96D9-0C42-533852172B63}"/>
                </a:ext>
              </a:extLst>
            </p:cNvPr>
            <p:cNvSpPr/>
            <p:nvPr/>
          </p:nvSpPr>
          <p:spPr>
            <a:xfrm>
              <a:off x="60388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71B541F6-83A0-6D23-716D-CBE667AE5D8B}"/>
                </a:ext>
              </a:extLst>
            </p:cNvPr>
            <p:cNvSpPr/>
            <p:nvPr/>
          </p:nvSpPr>
          <p:spPr>
            <a:xfrm>
              <a:off x="60388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06742A6C-6000-5366-8B42-6B956BAAC7A4}"/>
                </a:ext>
              </a:extLst>
            </p:cNvPr>
            <p:cNvSpPr/>
            <p:nvPr/>
          </p:nvSpPr>
          <p:spPr>
            <a:xfrm>
              <a:off x="60388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FDAAEF1D-8F57-7026-31CE-0BAAAA12DEF8}"/>
                </a:ext>
              </a:extLst>
            </p:cNvPr>
            <p:cNvSpPr/>
            <p:nvPr/>
          </p:nvSpPr>
          <p:spPr>
            <a:xfrm>
              <a:off x="61436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FAFACFB4-ED02-5A20-5D3B-F81F701BC089}"/>
                </a:ext>
              </a:extLst>
            </p:cNvPr>
            <p:cNvSpPr/>
            <p:nvPr/>
          </p:nvSpPr>
          <p:spPr>
            <a:xfrm>
              <a:off x="61436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1CCB432D-4302-5DF5-BF86-B486AB7EB10A}"/>
                </a:ext>
              </a:extLst>
            </p:cNvPr>
            <p:cNvSpPr/>
            <p:nvPr/>
          </p:nvSpPr>
          <p:spPr>
            <a:xfrm>
              <a:off x="61436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ACFCD479-7C25-02EF-F1B2-B566714ABD70}"/>
                </a:ext>
              </a:extLst>
            </p:cNvPr>
            <p:cNvSpPr/>
            <p:nvPr/>
          </p:nvSpPr>
          <p:spPr>
            <a:xfrm>
              <a:off x="61436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F930C788-BD15-C7A6-07D3-B029B6ED2096}"/>
                </a:ext>
              </a:extLst>
            </p:cNvPr>
            <p:cNvSpPr/>
            <p:nvPr/>
          </p:nvSpPr>
          <p:spPr>
            <a:xfrm>
              <a:off x="614362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28F4194B-9FF2-73CB-EF9B-557405C4B161}"/>
                </a:ext>
              </a:extLst>
            </p:cNvPr>
            <p:cNvSpPr/>
            <p:nvPr/>
          </p:nvSpPr>
          <p:spPr>
            <a:xfrm>
              <a:off x="61436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99D16DCA-F522-33FC-CEA9-D982C45F5498}"/>
                </a:ext>
              </a:extLst>
            </p:cNvPr>
            <p:cNvSpPr/>
            <p:nvPr/>
          </p:nvSpPr>
          <p:spPr>
            <a:xfrm>
              <a:off x="61436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C43DDE2C-4BE6-5FEC-79C8-97D50D0BB661}"/>
                </a:ext>
              </a:extLst>
            </p:cNvPr>
            <p:cNvSpPr/>
            <p:nvPr/>
          </p:nvSpPr>
          <p:spPr>
            <a:xfrm>
              <a:off x="61436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5A918F74-60B2-A349-3BD7-11425E1A79B5}"/>
                </a:ext>
              </a:extLst>
            </p:cNvPr>
            <p:cNvSpPr/>
            <p:nvPr/>
          </p:nvSpPr>
          <p:spPr>
            <a:xfrm>
              <a:off x="61436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F2CCF8A0-BC91-281E-9FE4-9A24A5509559}"/>
                </a:ext>
              </a:extLst>
            </p:cNvPr>
            <p:cNvSpPr/>
            <p:nvPr/>
          </p:nvSpPr>
          <p:spPr>
            <a:xfrm>
              <a:off x="61436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F6E3E137-E058-B87A-E712-71C5D44F4959}"/>
                </a:ext>
              </a:extLst>
            </p:cNvPr>
            <p:cNvSpPr/>
            <p:nvPr/>
          </p:nvSpPr>
          <p:spPr>
            <a:xfrm>
              <a:off x="61436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1" name="Freeform 970">
              <a:extLst>
                <a:ext uri="{FF2B5EF4-FFF2-40B4-BE49-F238E27FC236}">
                  <a16:creationId xmlns:a16="http://schemas.microsoft.com/office/drawing/2014/main" id="{06B854F0-20D3-B4DA-94ED-DDC0002E6C07}"/>
                </a:ext>
              </a:extLst>
            </p:cNvPr>
            <p:cNvSpPr/>
            <p:nvPr/>
          </p:nvSpPr>
          <p:spPr>
            <a:xfrm>
              <a:off x="61436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4D14D12E-9322-A589-1C81-F4F289DE7594}"/>
                </a:ext>
              </a:extLst>
            </p:cNvPr>
            <p:cNvSpPr/>
            <p:nvPr/>
          </p:nvSpPr>
          <p:spPr>
            <a:xfrm>
              <a:off x="61436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E4AD7064-5E05-2030-E7BC-6C53D2439E97}"/>
                </a:ext>
              </a:extLst>
            </p:cNvPr>
            <p:cNvSpPr/>
            <p:nvPr/>
          </p:nvSpPr>
          <p:spPr>
            <a:xfrm>
              <a:off x="61436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4" name="Freeform 973">
              <a:extLst>
                <a:ext uri="{FF2B5EF4-FFF2-40B4-BE49-F238E27FC236}">
                  <a16:creationId xmlns:a16="http://schemas.microsoft.com/office/drawing/2014/main" id="{39FE0E1E-4198-433C-92E0-BE733D4E484B}"/>
                </a:ext>
              </a:extLst>
            </p:cNvPr>
            <p:cNvSpPr/>
            <p:nvPr/>
          </p:nvSpPr>
          <p:spPr>
            <a:xfrm>
              <a:off x="61436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5" name="Freeform 974">
              <a:extLst>
                <a:ext uri="{FF2B5EF4-FFF2-40B4-BE49-F238E27FC236}">
                  <a16:creationId xmlns:a16="http://schemas.microsoft.com/office/drawing/2014/main" id="{DC12E8C6-9A57-4D4C-30A8-4F738BD336CA}"/>
                </a:ext>
              </a:extLst>
            </p:cNvPr>
            <p:cNvSpPr/>
            <p:nvPr/>
          </p:nvSpPr>
          <p:spPr>
            <a:xfrm>
              <a:off x="61436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6" name="Freeform 975">
              <a:extLst>
                <a:ext uri="{FF2B5EF4-FFF2-40B4-BE49-F238E27FC236}">
                  <a16:creationId xmlns:a16="http://schemas.microsoft.com/office/drawing/2014/main" id="{3EA3A4C9-303B-76C2-DE12-D75DBE106980}"/>
                </a:ext>
              </a:extLst>
            </p:cNvPr>
            <p:cNvSpPr/>
            <p:nvPr/>
          </p:nvSpPr>
          <p:spPr>
            <a:xfrm>
              <a:off x="61436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7" name="Freeform 976">
              <a:extLst>
                <a:ext uri="{FF2B5EF4-FFF2-40B4-BE49-F238E27FC236}">
                  <a16:creationId xmlns:a16="http://schemas.microsoft.com/office/drawing/2014/main" id="{9C3F1E90-4CA4-22F6-AC85-979B5CBCE1A4}"/>
                </a:ext>
              </a:extLst>
            </p:cNvPr>
            <p:cNvSpPr/>
            <p:nvPr/>
          </p:nvSpPr>
          <p:spPr>
            <a:xfrm>
              <a:off x="61436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8" name="Freeform 977">
              <a:extLst>
                <a:ext uri="{FF2B5EF4-FFF2-40B4-BE49-F238E27FC236}">
                  <a16:creationId xmlns:a16="http://schemas.microsoft.com/office/drawing/2014/main" id="{87D61EF9-F18B-4FCF-1C71-10235CC3736D}"/>
                </a:ext>
              </a:extLst>
            </p:cNvPr>
            <p:cNvSpPr/>
            <p:nvPr/>
          </p:nvSpPr>
          <p:spPr>
            <a:xfrm>
              <a:off x="61436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132660BB-5FAC-7278-B301-823F8E0DFE5E}"/>
                </a:ext>
              </a:extLst>
            </p:cNvPr>
            <p:cNvSpPr/>
            <p:nvPr/>
          </p:nvSpPr>
          <p:spPr>
            <a:xfrm>
              <a:off x="61436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4D64242E-087B-B962-A3D2-0FB8844230DA}"/>
                </a:ext>
              </a:extLst>
            </p:cNvPr>
            <p:cNvSpPr/>
            <p:nvPr/>
          </p:nvSpPr>
          <p:spPr>
            <a:xfrm>
              <a:off x="61436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F497D59A-87F6-00D3-F256-EE9DDA609B32}"/>
                </a:ext>
              </a:extLst>
            </p:cNvPr>
            <p:cNvSpPr/>
            <p:nvPr/>
          </p:nvSpPr>
          <p:spPr>
            <a:xfrm>
              <a:off x="61436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6C394ACA-D31E-80C6-15C8-022EEA147B9C}"/>
                </a:ext>
              </a:extLst>
            </p:cNvPr>
            <p:cNvSpPr/>
            <p:nvPr/>
          </p:nvSpPr>
          <p:spPr>
            <a:xfrm>
              <a:off x="61436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F4453D38-6867-D5D5-9004-0E19B41EC105}"/>
                </a:ext>
              </a:extLst>
            </p:cNvPr>
            <p:cNvSpPr/>
            <p:nvPr/>
          </p:nvSpPr>
          <p:spPr>
            <a:xfrm>
              <a:off x="61436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912034DE-127F-5F66-B368-9AB3075F45A4}"/>
                </a:ext>
              </a:extLst>
            </p:cNvPr>
            <p:cNvSpPr/>
            <p:nvPr/>
          </p:nvSpPr>
          <p:spPr>
            <a:xfrm>
              <a:off x="62484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56E14938-E9AE-DD89-8E58-12374922D2E3}"/>
                </a:ext>
              </a:extLst>
            </p:cNvPr>
            <p:cNvSpPr/>
            <p:nvPr/>
          </p:nvSpPr>
          <p:spPr>
            <a:xfrm>
              <a:off x="62484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98779C51-B5CB-A736-EFD1-5B0E47B914C6}"/>
                </a:ext>
              </a:extLst>
            </p:cNvPr>
            <p:cNvSpPr/>
            <p:nvPr/>
          </p:nvSpPr>
          <p:spPr>
            <a:xfrm>
              <a:off x="62484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7" name="Freeform 986">
              <a:extLst>
                <a:ext uri="{FF2B5EF4-FFF2-40B4-BE49-F238E27FC236}">
                  <a16:creationId xmlns:a16="http://schemas.microsoft.com/office/drawing/2014/main" id="{318C319E-CCF3-1A7C-12C2-DB7F05DEFA50}"/>
                </a:ext>
              </a:extLst>
            </p:cNvPr>
            <p:cNvSpPr/>
            <p:nvPr/>
          </p:nvSpPr>
          <p:spPr>
            <a:xfrm>
              <a:off x="62484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8" name="Freeform 987">
              <a:extLst>
                <a:ext uri="{FF2B5EF4-FFF2-40B4-BE49-F238E27FC236}">
                  <a16:creationId xmlns:a16="http://schemas.microsoft.com/office/drawing/2014/main" id="{0573C945-9171-3909-AFCB-CDBDAB790E80}"/>
                </a:ext>
              </a:extLst>
            </p:cNvPr>
            <p:cNvSpPr/>
            <p:nvPr/>
          </p:nvSpPr>
          <p:spPr>
            <a:xfrm>
              <a:off x="62484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9" name="Freeform 988">
              <a:extLst>
                <a:ext uri="{FF2B5EF4-FFF2-40B4-BE49-F238E27FC236}">
                  <a16:creationId xmlns:a16="http://schemas.microsoft.com/office/drawing/2014/main" id="{72FA9A2D-C462-8BCF-CB58-E89FEDF7D644}"/>
                </a:ext>
              </a:extLst>
            </p:cNvPr>
            <p:cNvSpPr/>
            <p:nvPr/>
          </p:nvSpPr>
          <p:spPr>
            <a:xfrm>
              <a:off x="62484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0" name="Freeform 989">
              <a:extLst>
                <a:ext uri="{FF2B5EF4-FFF2-40B4-BE49-F238E27FC236}">
                  <a16:creationId xmlns:a16="http://schemas.microsoft.com/office/drawing/2014/main" id="{950D8D0E-C159-E404-0850-76EDEF692B1D}"/>
                </a:ext>
              </a:extLst>
            </p:cNvPr>
            <p:cNvSpPr/>
            <p:nvPr/>
          </p:nvSpPr>
          <p:spPr>
            <a:xfrm>
              <a:off x="62484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1" name="Freeform 990">
              <a:extLst>
                <a:ext uri="{FF2B5EF4-FFF2-40B4-BE49-F238E27FC236}">
                  <a16:creationId xmlns:a16="http://schemas.microsoft.com/office/drawing/2014/main" id="{9757DE60-88DE-130E-FB01-11D13BB83458}"/>
                </a:ext>
              </a:extLst>
            </p:cNvPr>
            <p:cNvSpPr/>
            <p:nvPr/>
          </p:nvSpPr>
          <p:spPr>
            <a:xfrm>
              <a:off x="62484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C194E360-BFC8-CC6E-1B0C-D5E5DCEC65B9}"/>
                </a:ext>
              </a:extLst>
            </p:cNvPr>
            <p:cNvSpPr/>
            <p:nvPr/>
          </p:nvSpPr>
          <p:spPr>
            <a:xfrm>
              <a:off x="62484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8E1B6DC7-80DB-A436-8678-95F2F5F5BC75}"/>
                </a:ext>
              </a:extLst>
            </p:cNvPr>
            <p:cNvSpPr/>
            <p:nvPr/>
          </p:nvSpPr>
          <p:spPr>
            <a:xfrm>
              <a:off x="62484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A9147B6D-C0C1-413C-F8A2-579FCF3F8DD1}"/>
                </a:ext>
              </a:extLst>
            </p:cNvPr>
            <p:cNvSpPr/>
            <p:nvPr/>
          </p:nvSpPr>
          <p:spPr>
            <a:xfrm>
              <a:off x="62484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F3E15A4D-AE41-D6BA-7452-2B9617122E25}"/>
                </a:ext>
              </a:extLst>
            </p:cNvPr>
            <p:cNvSpPr/>
            <p:nvPr/>
          </p:nvSpPr>
          <p:spPr>
            <a:xfrm>
              <a:off x="62484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3C68095C-FC3C-4D08-8FE0-F0584888F7A6}"/>
                </a:ext>
              </a:extLst>
            </p:cNvPr>
            <p:cNvSpPr/>
            <p:nvPr/>
          </p:nvSpPr>
          <p:spPr>
            <a:xfrm>
              <a:off x="62484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AC54CB01-FECA-D281-8762-DE39BCADC3A7}"/>
                </a:ext>
              </a:extLst>
            </p:cNvPr>
            <p:cNvSpPr/>
            <p:nvPr/>
          </p:nvSpPr>
          <p:spPr>
            <a:xfrm>
              <a:off x="62484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18FA9BC1-FD36-4164-483B-EF58D669F4E4}"/>
                </a:ext>
              </a:extLst>
            </p:cNvPr>
            <p:cNvSpPr/>
            <p:nvPr/>
          </p:nvSpPr>
          <p:spPr>
            <a:xfrm>
              <a:off x="62484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58B84D8D-F7E9-6F8A-2BA4-BE7FDBC955D0}"/>
                </a:ext>
              </a:extLst>
            </p:cNvPr>
            <p:cNvSpPr/>
            <p:nvPr/>
          </p:nvSpPr>
          <p:spPr>
            <a:xfrm>
              <a:off x="62484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1657F619-FC2E-38A2-B6F0-E2B8FD8D2C45}"/>
                </a:ext>
              </a:extLst>
            </p:cNvPr>
            <p:cNvSpPr/>
            <p:nvPr/>
          </p:nvSpPr>
          <p:spPr>
            <a:xfrm>
              <a:off x="62484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943E8284-E84A-CAC2-B1FA-DB292D4145BF}"/>
                </a:ext>
              </a:extLst>
            </p:cNvPr>
            <p:cNvSpPr/>
            <p:nvPr/>
          </p:nvSpPr>
          <p:spPr>
            <a:xfrm>
              <a:off x="62484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C929176E-6E93-FB13-424D-C5EAFFBA9041}"/>
                </a:ext>
              </a:extLst>
            </p:cNvPr>
            <p:cNvSpPr/>
            <p:nvPr/>
          </p:nvSpPr>
          <p:spPr>
            <a:xfrm>
              <a:off x="63531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4D5C6554-69A0-2603-5298-9D1CCE1C41CA}"/>
                </a:ext>
              </a:extLst>
            </p:cNvPr>
            <p:cNvSpPr/>
            <p:nvPr/>
          </p:nvSpPr>
          <p:spPr>
            <a:xfrm>
              <a:off x="63531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60AF92A2-A2C1-541E-D3FB-69A1384BB9C4}"/>
                </a:ext>
              </a:extLst>
            </p:cNvPr>
            <p:cNvSpPr/>
            <p:nvPr/>
          </p:nvSpPr>
          <p:spPr>
            <a:xfrm>
              <a:off x="63531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3FDB4322-B28A-CF69-950E-829FBBFD4CB1}"/>
                </a:ext>
              </a:extLst>
            </p:cNvPr>
            <p:cNvSpPr/>
            <p:nvPr/>
          </p:nvSpPr>
          <p:spPr>
            <a:xfrm>
              <a:off x="63531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32BDB78B-59C8-9A4B-5017-4935E0F27C24}"/>
                </a:ext>
              </a:extLst>
            </p:cNvPr>
            <p:cNvSpPr/>
            <p:nvPr/>
          </p:nvSpPr>
          <p:spPr>
            <a:xfrm>
              <a:off x="63531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31BD7144-380A-CCB6-4D73-8A8ED4ACBDBA}"/>
                </a:ext>
              </a:extLst>
            </p:cNvPr>
            <p:cNvSpPr/>
            <p:nvPr/>
          </p:nvSpPr>
          <p:spPr>
            <a:xfrm>
              <a:off x="63531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A6471D3A-F617-DDEE-65F3-F577AA7C10F5}"/>
                </a:ext>
              </a:extLst>
            </p:cNvPr>
            <p:cNvSpPr/>
            <p:nvPr/>
          </p:nvSpPr>
          <p:spPr>
            <a:xfrm>
              <a:off x="63531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A8A4FF0E-2958-E208-B09B-4DD2B36DEDB0}"/>
                </a:ext>
              </a:extLst>
            </p:cNvPr>
            <p:cNvSpPr/>
            <p:nvPr/>
          </p:nvSpPr>
          <p:spPr>
            <a:xfrm>
              <a:off x="63531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E21AC311-088E-39C2-CEE3-DC8DAB0C8BDC}"/>
                </a:ext>
              </a:extLst>
            </p:cNvPr>
            <p:cNvSpPr/>
            <p:nvPr/>
          </p:nvSpPr>
          <p:spPr>
            <a:xfrm>
              <a:off x="63531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3B74BFC6-E143-CDFA-F55E-09F1CC38354F}"/>
                </a:ext>
              </a:extLst>
            </p:cNvPr>
            <p:cNvSpPr/>
            <p:nvPr/>
          </p:nvSpPr>
          <p:spPr>
            <a:xfrm>
              <a:off x="63531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A004CDD-F574-BE31-2545-315342902C36}"/>
                </a:ext>
              </a:extLst>
            </p:cNvPr>
            <p:cNvSpPr/>
            <p:nvPr/>
          </p:nvSpPr>
          <p:spPr>
            <a:xfrm>
              <a:off x="63531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C0477436-55DA-C523-A4E4-CEC8972F67C7}"/>
                </a:ext>
              </a:extLst>
            </p:cNvPr>
            <p:cNvSpPr/>
            <p:nvPr/>
          </p:nvSpPr>
          <p:spPr>
            <a:xfrm>
              <a:off x="63531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5A51FC6D-BDE7-D4C4-EC78-1297BFC4A420}"/>
                </a:ext>
              </a:extLst>
            </p:cNvPr>
            <p:cNvSpPr/>
            <p:nvPr/>
          </p:nvSpPr>
          <p:spPr>
            <a:xfrm>
              <a:off x="63531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A3E559E3-3AC6-60F2-3047-F99C7B278AC8}"/>
                </a:ext>
              </a:extLst>
            </p:cNvPr>
            <p:cNvSpPr/>
            <p:nvPr/>
          </p:nvSpPr>
          <p:spPr>
            <a:xfrm>
              <a:off x="63531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89A2DAEF-041E-9731-5D59-1880D3D0930A}"/>
                </a:ext>
              </a:extLst>
            </p:cNvPr>
            <p:cNvSpPr/>
            <p:nvPr/>
          </p:nvSpPr>
          <p:spPr>
            <a:xfrm>
              <a:off x="64579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36F578EC-DFAF-905A-73B0-1C2A17A6175C}"/>
                </a:ext>
              </a:extLst>
            </p:cNvPr>
            <p:cNvSpPr/>
            <p:nvPr/>
          </p:nvSpPr>
          <p:spPr>
            <a:xfrm>
              <a:off x="64579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E4780375-9D38-33DD-5EF6-E05A839805B5}"/>
                </a:ext>
              </a:extLst>
            </p:cNvPr>
            <p:cNvSpPr/>
            <p:nvPr/>
          </p:nvSpPr>
          <p:spPr>
            <a:xfrm>
              <a:off x="64579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DF164FD8-43AE-9D00-9967-5EC9B8BF5B04}"/>
                </a:ext>
              </a:extLst>
            </p:cNvPr>
            <p:cNvSpPr/>
            <p:nvPr/>
          </p:nvSpPr>
          <p:spPr>
            <a:xfrm>
              <a:off x="64579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CD09E3DF-39BC-CA14-573F-17E1ECDF22FB}"/>
                </a:ext>
              </a:extLst>
            </p:cNvPr>
            <p:cNvSpPr/>
            <p:nvPr/>
          </p:nvSpPr>
          <p:spPr>
            <a:xfrm>
              <a:off x="64579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9E4DC628-0773-D5AC-4D5C-4251BBFA0EB6}"/>
                </a:ext>
              </a:extLst>
            </p:cNvPr>
            <p:cNvSpPr/>
            <p:nvPr/>
          </p:nvSpPr>
          <p:spPr>
            <a:xfrm>
              <a:off x="64579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75296AB3-DC22-9633-99B4-7BA05F257043}"/>
                </a:ext>
              </a:extLst>
            </p:cNvPr>
            <p:cNvSpPr/>
            <p:nvPr/>
          </p:nvSpPr>
          <p:spPr>
            <a:xfrm>
              <a:off x="64579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6984EAA0-2F7E-386F-A56D-F1F0347D1558}"/>
                </a:ext>
              </a:extLst>
            </p:cNvPr>
            <p:cNvSpPr/>
            <p:nvPr/>
          </p:nvSpPr>
          <p:spPr>
            <a:xfrm>
              <a:off x="64579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73FE728-A65A-1691-E420-93D27C7294E1}"/>
                </a:ext>
              </a:extLst>
            </p:cNvPr>
            <p:cNvSpPr/>
            <p:nvPr/>
          </p:nvSpPr>
          <p:spPr>
            <a:xfrm>
              <a:off x="64579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482FC48-98B3-3E45-DFB9-66B7E41EED4F}"/>
                </a:ext>
              </a:extLst>
            </p:cNvPr>
            <p:cNvSpPr/>
            <p:nvPr/>
          </p:nvSpPr>
          <p:spPr>
            <a:xfrm>
              <a:off x="64579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5748B350-E51F-DF24-D6FA-FF834D70E0F6}"/>
                </a:ext>
              </a:extLst>
            </p:cNvPr>
            <p:cNvSpPr/>
            <p:nvPr/>
          </p:nvSpPr>
          <p:spPr>
            <a:xfrm>
              <a:off x="64579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4D2E6174-F80A-29AE-30F7-744960901615}"/>
                </a:ext>
              </a:extLst>
            </p:cNvPr>
            <p:cNvSpPr/>
            <p:nvPr/>
          </p:nvSpPr>
          <p:spPr>
            <a:xfrm>
              <a:off x="64579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8DEA3857-CC14-CD8D-F019-D053693DFF22}"/>
                </a:ext>
              </a:extLst>
            </p:cNvPr>
            <p:cNvSpPr/>
            <p:nvPr/>
          </p:nvSpPr>
          <p:spPr>
            <a:xfrm>
              <a:off x="64579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F4E5681E-1F06-4CED-7B92-096D199E082E}"/>
                </a:ext>
              </a:extLst>
            </p:cNvPr>
            <p:cNvSpPr/>
            <p:nvPr/>
          </p:nvSpPr>
          <p:spPr>
            <a:xfrm>
              <a:off x="64579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A84206FA-287E-B3FE-394C-05F8E740FAF0}"/>
                </a:ext>
              </a:extLst>
            </p:cNvPr>
            <p:cNvSpPr/>
            <p:nvPr/>
          </p:nvSpPr>
          <p:spPr>
            <a:xfrm>
              <a:off x="64579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B1817DBE-5411-0ECC-7351-C1FABF1B0043}"/>
                </a:ext>
              </a:extLst>
            </p:cNvPr>
            <p:cNvSpPr/>
            <p:nvPr/>
          </p:nvSpPr>
          <p:spPr>
            <a:xfrm>
              <a:off x="64579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D249A277-1F84-DC3C-791D-F01A6D877655}"/>
                </a:ext>
              </a:extLst>
            </p:cNvPr>
            <p:cNvSpPr/>
            <p:nvPr/>
          </p:nvSpPr>
          <p:spPr>
            <a:xfrm>
              <a:off x="64579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7A49ABAD-887E-5B5A-88E6-A3388B6D120B}"/>
                </a:ext>
              </a:extLst>
            </p:cNvPr>
            <p:cNvSpPr/>
            <p:nvPr/>
          </p:nvSpPr>
          <p:spPr>
            <a:xfrm>
              <a:off x="65627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A992AADF-7034-1B98-50C2-66F34D49C0A7}"/>
                </a:ext>
              </a:extLst>
            </p:cNvPr>
            <p:cNvSpPr/>
            <p:nvPr/>
          </p:nvSpPr>
          <p:spPr>
            <a:xfrm>
              <a:off x="65627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D09482EA-BEE1-8910-DBE2-74DE1A54452A}"/>
                </a:ext>
              </a:extLst>
            </p:cNvPr>
            <p:cNvSpPr/>
            <p:nvPr/>
          </p:nvSpPr>
          <p:spPr>
            <a:xfrm>
              <a:off x="65627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7399423B-1917-6722-2BF5-8015774CA237}"/>
                </a:ext>
              </a:extLst>
            </p:cNvPr>
            <p:cNvSpPr/>
            <p:nvPr/>
          </p:nvSpPr>
          <p:spPr>
            <a:xfrm>
              <a:off x="65627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F881AB6C-2B8F-E686-C609-B97D6F80E897}"/>
                </a:ext>
              </a:extLst>
            </p:cNvPr>
            <p:cNvSpPr/>
            <p:nvPr/>
          </p:nvSpPr>
          <p:spPr>
            <a:xfrm>
              <a:off x="65627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D042540-A7F6-4072-828C-3FC1178CF127}"/>
                </a:ext>
              </a:extLst>
            </p:cNvPr>
            <p:cNvSpPr/>
            <p:nvPr/>
          </p:nvSpPr>
          <p:spPr>
            <a:xfrm>
              <a:off x="65627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6CA8EF88-9C52-C626-92CA-D82CFD441E86}"/>
                </a:ext>
              </a:extLst>
            </p:cNvPr>
            <p:cNvSpPr/>
            <p:nvPr/>
          </p:nvSpPr>
          <p:spPr>
            <a:xfrm>
              <a:off x="65627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FCBD8CD1-1BD2-46ED-0504-0D1A597E6DEE}"/>
                </a:ext>
              </a:extLst>
            </p:cNvPr>
            <p:cNvSpPr/>
            <p:nvPr/>
          </p:nvSpPr>
          <p:spPr>
            <a:xfrm>
              <a:off x="65627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BC8B14F6-EFF4-0BFE-A1C6-EBF2A5A78B9C}"/>
                </a:ext>
              </a:extLst>
            </p:cNvPr>
            <p:cNvSpPr/>
            <p:nvPr/>
          </p:nvSpPr>
          <p:spPr>
            <a:xfrm>
              <a:off x="65627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8BB2DA16-B82E-D3DA-7525-31A68D367956}"/>
                </a:ext>
              </a:extLst>
            </p:cNvPr>
            <p:cNvSpPr/>
            <p:nvPr/>
          </p:nvSpPr>
          <p:spPr>
            <a:xfrm>
              <a:off x="65627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09B93266-EB58-C615-6C47-A5EE80C9DE3D}"/>
                </a:ext>
              </a:extLst>
            </p:cNvPr>
            <p:cNvSpPr/>
            <p:nvPr/>
          </p:nvSpPr>
          <p:spPr>
            <a:xfrm>
              <a:off x="65627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8D7DC1-74AB-D51E-7585-D7D3170A7F53}"/>
                </a:ext>
              </a:extLst>
            </p:cNvPr>
            <p:cNvSpPr/>
            <p:nvPr/>
          </p:nvSpPr>
          <p:spPr>
            <a:xfrm>
              <a:off x="65627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ABAE72B6-2031-9F8B-4AC1-4BB3E795A1D4}"/>
                </a:ext>
              </a:extLst>
            </p:cNvPr>
            <p:cNvSpPr/>
            <p:nvPr/>
          </p:nvSpPr>
          <p:spPr>
            <a:xfrm>
              <a:off x="65627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73B098AE-8C28-AC51-759D-634F1A43FF09}"/>
                </a:ext>
              </a:extLst>
            </p:cNvPr>
            <p:cNvSpPr/>
            <p:nvPr/>
          </p:nvSpPr>
          <p:spPr>
            <a:xfrm>
              <a:off x="66675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68D5FAE9-8886-D045-6401-25A72FFAF093}"/>
                </a:ext>
              </a:extLst>
            </p:cNvPr>
            <p:cNvSpPr/>
            <p:nvPr/>
          </p:nvSpPr>
          <p:spPr>
            <a:xfrm>
              <a:off x="66675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3034E8C2-A2B9-7998-4A6B-02CB8EAD73E4}"/>
                </a:ext>
              </a:extLst>
            </p:cNvPr>
            <p:cNvSpPr/>
            <p:nvPr/>
          </p:nvSpPr>
          <p:spPr>
            <a:xfrm>
              <a:off x="66675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8F402862-686F-581A-F501-073F5EF35653}"/>
                </a:ext>
              </a:extLst>
            </p:cNvPr>
            <p:cNvSpPr/>
            <p:nvPr/>
          </p:nvSpPr>
          <p:spPr>
            <a:xfrm>
              <a:off x="66675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FF18FB8-68DB-9C28-1042-2A48622A2DE4}"/>
                </a:ext>
              </a:extLst>
            </p:cNvPr>
            <p:cNvSpPr/>
            <p:nvPr/>
          </p:nvSpPr>
          <p:spPr>
            <a:xfrm>
              <a:off x="66675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FA8C6846-55BE-2B38-6ED8-B5252084D58C}"/>
                </a:ext>
              </a:extLst>
            </p:cNvPr>
            <p:cNvSpPr/>
            <p:nvPr/>
          </p:nvSpPr>
          <p:spPr>
            <a:xfrm>
              <a:off x="66675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2" name="Freeform 1051">
              <a:extLst>
                <a:ext uri="{FF2B5EF4-FFF2-40B4-BE49-F238E27FC236}">
                  <a16:creationId xmlns:a16="http://schemas.microsoft.com/office/drawing/2014/main" id="{AAA914BC-96F5-9DEE-A3E6-F97BC6D3E44B}"/>
                </a:ext>
              </a:extLst>
            </p:cNvPr>
            <p:cNvSpPr/>
            <p:nvPr/>
          </p:nvSpPr>
          <p:spPr>
            <a:xfrm>
              <a:off x="66675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4B6CD53A-038A-97FD-75AA-852B9340D184}"/>
                </a:ext>
              </a:extLst>
            </p:cNvPr>
            <p:cNvSpPr/>
            <p:nvPr/>
          </p:nvSpPr>
          <p:spPr>
            <a:xfrm>
              <a:off x="66675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5800AEE8-C8A3-3A64-1915-EEF152050627}"/>
                </a:ext>
              </a:extLst>
            </p:cNvPr>
            <p:cNvSpPr/>
            <p:nvPr/>
          </p:nvSpPr>
          <p:spPr>
            <a:xfrm>
              <a:off x="66675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5" name="Freeform 1054">
              <a:extLst>
                <a:ext uri="{FF2B5EF4-FFF2-40B4-BE49-F238E27FC236}">
                  <a16:creationId xmlns:a16="http://schemas.microsoft.com/office/drawing/2014/main" id="{57B5F741-5F73-8E2D-A1B8-2E383D1D33DD}"/>
                </a:ext>
              </a:extLst>
            </p:cNvPr>
            <p:cNvSpPr/>
            <p:nvPr/>
          </p:nvSpPr>
          <p:spPr>
            <a:xfrm>
              <a:off x="66675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6" name="Freeform 1055">
              <a:extLst>
                <a:ext uri="{FF2B5EF4-FFF2-40B4-BE49-F238E27FC236}">
                  <a16:creationId xmlns:a16="http://schemas.microsoft.com/office/drawing/2014/main" id="{2ECE3AB1-EFFB-E904-50EC-C88BC3ED149E}"/>
                </a:ext>
              </a:extLst>
            </p:cNvPr>
            <p:cNvSpPr/>
            <p:nvPr/>
          </p:nvSpPr>
          <p:spPr>
            <a:xfrm>
              <a:off x="66675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7" name="Freeform 1056">
              <a:extLst>
                <a:ext uri="{FF2B5EF4-FFF2-40B4-BE49-F238E27FC236}">
                  <a16:creationId xmlns:a16="http://schemas.microsoft.com/office/drawing/2014/main" id="{B1D6FC69-497A-AA43-341C-6FB458F7580F}"/>
                </a:ext>
              </a:extLst>
            </p:cNvPr>
            <p:cNvSpPr/>
            <p:nvPr/>
          </p:nvSpPr>
          <p:spPr>
            <a:xfrm>
              <a:off x="66675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8" name="Freeform 1057">
              <a:extLst>
                <a:ext uri="{FF2B5EF4-FFF2-40B4-BE49-F238E27FC236}">
                  <a16:creationId xmlns:a16="http://schemas.microsoft.com/office/drawing/2014/main" id="{C65D8DD2-797D-1F9B-5FDD-0C3431BDE738}"/>
                </a:ext>
              </a:extLst>
            </p:cNvPr>
            <p:cNvSpPr/>
            <p:nvPr/>
          </p:nvSpPr>
          <p:spPr>
            <a:xfrm>
              <a:off x="66675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9" name="Freeform 1058">
              <a:extLst>
                <a:ext uri="{FF2B5EF4-FFF2-40B4-BE49-F238E27FC236}">
                  <a16:creationId xmlns:a16="http://schemas.microsoft.com/office/drawing/2014/main" id="{DBEEA8BD-AAC9-038B-E422-C288CC70FB47}"/>
                </a:ext>
              </a:extLst>
            </p:cNvPr>
            <p:cNvSpPr/>
            <p:nvPr/>
          </p:nvSpPr>
          <p:spPr>
            <a:xfrm>
              <a:off x="66675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C0845B0-8838-1808-76D8-1C9972F91362}"/>
                </a:ext>
              </a:extLst>
            </p:cNvPr>
            <p:cNvSpPr/>
            <p:nvPr/>
          </p:nvSpPr>
          <p:spPr>
            <a:xfrm>
              <a:off x="66675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D75893E2-BBB2-16B5-F724-F7F8907C42EC}"/>
                </a:ext>
              </a:extLst>
            </p:cNvPr>
            <p:cNvSpPr/>
            <p:nvPr/>
          </p:nvSpPr>
          <p:spPr>
            <a:xfrm>
              <a:off x="66675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DE0D2E4B-5785-7F5E-7038-5E8498022979}"/>
                </a:ext>
              </a:extLst>
            </p:cNvPr>
            <p:cNvSpPr/>
            <p:nvPr/>
          </p:nvSpPr>
          <p:spPr>
            <a:xfrm>
              <a:off x="67722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4C4E45DD-FFB0-6D11-B57E-C13F128CA39F}"/>
                </a:ext>
              </a:extLst>
            </p:cNvPr>
            <p:cNvSpPr/>
            <p:nvPr/>
          </p:nvSpPr>
          <p:spPr>
            <a:xfrm>
              <a:off x="67722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093C84F7-4608-DB5B-0D55-3E373ACB0581}"/>
                </a:ext>
              </a:extLst>
            </p:cNvPr>
            <p:cNvSpPr/>
            <p:nvPr/>
          </p:nvSpPr>
          <p:spPr>
            <a:xfrm>
              <a:off x="67722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5B5C727E-F90A-A2D2-A32A-BD98EFBCBD57}"/>
                </a:ext>
              </a:extLst>
            </p:cNvPr>
            <p:cNvSpPr/>
            <p:nvPr/>
          </p:nvSpPr>
          <p:spPr>
            <a:xfrm>
              <a:off x="67722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4FD1AD9B-2D82-DB10-E05A-0678F41B37B5}"/>
                </a:ext>
              </a:extLst>
            </p:cNvPr>
            <p:cNvSpPr/>
            <p:nvPr/>
          </p:nvSpPr>
          <p:spPr>
            <a:xfrm>
              <a:off x="67722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C8EBCAC-9511-40B3-AF78-6EF5B6D785C8}"/>
                </a:ext>
              </a:extLst>
            </p:cNvPr>
            <p:cNvSpPr/>
            <p:nvPr/>
          </p:nvSpPr>
          <p:spPr>
            <a:xfrm>
              <a:off x="67722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8" name="Freeform 1067">
              <a:extLst>
                <a:ext uri="{FF2B5EF4-FFF2-40B4-BE49-F238E27FC236}">
                  <a16:creationId xmlns:a16="http://schemas.microsoft.com/office/drawing/2014/main" id="{781A0F8A-D6B9-DA7D-A981-BDD249A01D29}"/>
                </a:ext>
              </a:extLst>
            </p:cNvPr>
            <p:cNvSpPr/>
            <p:nvPr/>
          </p:nvSpPr>
          <p:spPr>
            <a:xfrm>
              <a:off x="67722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9" name="Freeform 1068">
              <a:extLst>
                <a:ext uri="{FF2B5EF4-FFF2-40B4-BE49-F238E27FC236}">
                  <a16:creationId xmlns:a16="http://schemas.microsoft.com/office/drawing/2014/main" id="{BCE6397F-B20F-D5EA-6D8E-4D75939CF5EB}"/>
                </a:ext>
              </a:extLst>
            </p:cNvPr>
            <p:cNvSpPr/>
            <p:nvPr/>
          </p:nvSpPr>
          <p:spPr>
            <a:xfrm>
              <a:off x="67722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0" name="Freeform 1069">
              <a:extLst>
                <a:ext uri="{FF2B5EF4-FFF2-40B4-BE49-F238E27FC236}">
                  <a16:creationId xmlns:a16="http://schemas.microsoft.com/office/drawing/2014/main" id="{7762875D-1736-D641-6D9D-A607422045CC}"/>
                </a:ext>
              </a:extLst>
            </p:cNvPr>
            <p:cNvSpPr/>
            <p:nvPr/>
          </p:nvSpPr>
          <p:spPr>
            <a:xfrm>
              <a:off x="67722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95842B03-2B57-70F0-7432-E93620D16785}"/>
                </a:ext>
              </a:extLst>
            </p:cNvPr>
            <p:cNvSpPr/>
            <p:nvPr/>
          </p:nvSpPr>
          <p:spPr>
            <a:xfrm>
              <a:off x="67722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2" name="Freeform 1071">
              <a:extLst>
                <a:ext uri="{FF2B5EF4-FFF2-40B4-BE49-F238E27FC236}">
                  <a16:creationId xmlns:a16="http://schemas.microsoft.com/office/drawing/2014/main" id="{98A838DF-1DE5-BFF8-C5B1-7013DA9CEDCC}"/>
                </a:ext>
              </a:extLst>
            </p:cNvPr>
            <p:cNvSpPr/>
            <p:nvPr/>
          </p:nvSpPr>
          <p:spPr>
            <a:xfrm>
              <a:off x="67722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F5B2E783-D159-78E4-40EF-8D7F543A044C}"/>
                </a:ext>
              </a:extLst>
            </p:cNvPr>
            <p:cNvSpPr/>
            <p:nvPr/>
          </p:nvSpPr>
          <p:spPr>
            <a:xfrm>
              <a:off x="67722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3EBF7AB4-86BE-34FD-D3D6-372E51A59A60}"/>
                </a:ext>
              </a:extLst>
            </p:cNvPr>
            <p:cNvSpPr/>
            <p:nvPr/>
          </p:nvSpPr>
          <p:spPr>
            <a:xfrm>
              <a:off x="67722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015551E2-7C72-4382-3B91-11C8C3EDF43A}"/>
                </a:ext>
              </a:extLst>
            </p:cNvPr>
            <p:cNvSpPr/>
            <p:nvPr/>
          </p:nvSpPr>
          <p:spPr>
            <a:xfrm>
              <a:off x="68770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C27B3ED4-8E5D-0A62-69CD-24E76AE0F848}"/>
                </a:ext>
              </a:extLst>
            </p:cNvPr>
            <p:cNvSpPr/>
            <p:nvPr/>
          </p:nvSpPr>
          <p:spPr>
            <a:xfrm>
              <a:off x="68770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6FD0A9FC-05E4-582E-D091-7F7474D4B944}"/>
                </a:ext>
              </a:extLst>
            </p:cNvPr>
            <p:cNvSpPr/>
            <p:nvPr/>
          </p:nvSpPr>
          <p:spPr>
            <a:xfrm>
              <a:off x="68770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E34A14B6-4270-FF6D-1601-4E26A79713CB}"/>
                </a:ext>
              </a:extLst>
            </p:cNvPr>
            <p:cNvSpPr/>
            <p:nvPr/>
          </p:nvSpPr>
          <p:spPr>
            <a:xfrm>
              <a:off x="68770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2FF517AC-E0E2-C9EA-7C1E-EB4C5AEFE2C9}"/>
                </a:ext>
              </a:extLst>
            </p:cNvPr>
            <p:cNvSpPr/>
            <p:nvPr/>
          </p:nvSpPr>
          <p:spPr>
            <a:xfrm>
              <a:off x="68770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0E013C12-9F68-967F-F238-2CC70F7B2D90}"/>
                </a:ext>
              </a:extLst>
            </p:cNvPr>
            <p:cNvSpPr/>
            <p:nvPr/>
          </p:nvSpPr>
          <p:spPr>
            <a:xfrm>
              <a:off x="68770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EDEAB8AB-2BDB-618A-AA69-D77BE203F893}"/>
                </a:ext>
              </a:extLst>
            </p:cNvPr>
            <p:cNvSpPr/>
            <p:nvPr/>
          </p:nvSpPr>
          <p:spPr>
            <a:xfrm>
              <a:off x="68770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E9DE6489-0879-F33F-283E-F4A612DF93A0}"/>
                </a:ext>
              </a:extLst>
            </p:cNvPr>
            <p:cNvSpPr/>
            <p:nvPr/>
          </p:nvSpPr>
          <p:spPr>
            <a:xfrm>
              <a:off x="68770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452373F6-7225-63D9-C591-C990C244EF98}"/>
                </a:ext>
              </a:extLst>
            </p:cNvPr>
            <p:cNvSpPr/>
            <p:nvPr/>
          </p:nvSpPr>
          <p:spPr>
            <a:xfrm>
              <a:off x="68770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4A53B9F5-3037-5750-1BFD-2E0C2EAFD4BD}"/>
                </a:ext>
              </a:extLst>
            </p:cNvPr>
            <p:cNvSpPr/>
            <p:nvPr/>
          </p:nvSpPr>
          <p:spPr>
            <a:xfrm>
              <a:off x="68770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615B20B4-576F-52BD-1DA6-A1B803A957AB}"/>
                </a:ext>
              </a:extLst>
            </p:cNvPr>
            <p:cNvSpPr/>
            <p:nvPr/>
          </p:nvSpPr>
          <p:spPr>
            <a:xfrm>
              <a:off x="68770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E1AA752E-411B-CA06-EFA3-810DA82A2422}"/>
                </a:ext>
              </a:extLst>
            </p:cNvPr>
            <p:cNvSpPr/>
            <p:nvPr/>
          </p:nvSpPr>
          <p:spPr>
            <a:xfrm>
              <a:off x="68770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B84EFBEE-F656-2D47-62CB-BE2C40AA1A9C}"/>
                </a:ext>
              </a:extLst>
            </p:cNvPr>
            <p:cNvSpPr/>
            <p:nvPr/>
          </p:nvSpPr>
          <p:spPr>
            <a:xfrm>
              <a:off x="68770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E77B5AB6-2A1D-BFD9-82E1-C54EDCB6BEEC}"/>
                </a:ext>
              </a:extLst>
            </p:cNvPr>
            <p:cNvSpPr/>
            <p:nvPr/>
          </p:nvSpPr>
          <p:spPr>
            <a:xfrm>
              <a:off x="68770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E3907ED6-C006-4294-E3D3-467C69F22BD8}"/>
                </a:ext>
              </a:extLst>
            </p:cNvPr>
            <p:cNvSpPr/>
            <p:nvPr/>
          </p:nvSpPr>
          <p:spPr>
            <a:xfrm>
              <a:off x="68770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F3A97590-911C-3F91-0968-81D18C25E1EA}"/>
                </a:ext>
              </a:extLst>
            </p:cNvPr>
            <p:cNvSpPr/>
            <p:nvPr/>
          </p:nvSpPr>
          <p:spPr>
            <a:xfrm>
              <a:off x="68770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A24D5A5C-20CF-9EC2-C015-0A7A51B7AD3B}"/>
                </a:ext>
              </a:extLst>
            </p:cNvPr>
            <p:cNvSpPr/>
            <p:nvPr/>
          </p:nvSpPr>
          <p:spPr>
            <a:xfrm>
              <a:off x="69818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C47EC82C-4403-0591-AFED-4D161D4A180D}"/>
                </a:ext>
              </a:extLst>
            </p:cNvPr>
            <p:cNvSpPr/>
            <p:nvPr/>
          </p:nvSpPr>
          <p:spPr>
            <a:xfrm>
              <a:off x="69818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126FF0C7-9934-DDC1-DEB2-E572FC49FC23}"/>
                </a:ext>
              </a:extLst>
            </p:cNvPr>
            <p:cNvSpPr/>
            <p:nvPr/>
          </p:nvSpPr>
          <p:spPr>
            <a:xfrm>
              <a:off x="69818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8840550A-DDEC-3A78-7967-FB479033C49F}"/>
                </a:ext>
              </a:extLst>
            </p:cNvPr>
            <p:cNvSpPr/>
            <p:nvPr/>
          </p:nvSpPr>
          <p:spPr>
            <a:xfrm>
              <a:off x="69818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8434CBF8-1454-9738-D342-E2573A9799CE}"/>
                </a:ext>
              </a:extLst>
            </p:cNvPr>
            <p:cNvSpPr/>
            <p:nvPr/>
          </p:nvSpPr>
          <p:spPr>
            <a:xfrm>
              <a:off x="69818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6DC6B514-D6CA-A351-A814-4FDD207EE369}"/>
                </a:ext>
              </a:extLst>
            </p:cNvPr>
            <p:cNvSpPr/>
            <p:nvPr/>
          </p:nvSpPr>
          <p:spPr>
            <a:xfrm>
              <a:off x="69818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4C3B13E3-F870-B6B0-0FBC-D6A32E5B5EBB}"/>
                </a:ext>
              </a:extLst>
            </p:cNvPr>
            <p:cNvSpPr/>
            <p:nvPr/>
          </p:nvSpPr>
          <p:spPr>
            <a:xfrm>
              <a:off x="69818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932B0D9A-519C-C2BC-EF27-6213F37991A7}"/>
                </a:ext>
              </a:extLst>
            </p:cNvPr>
            <p:cNvSpPr/>
            <p:nvPr/>
          </p:nvSpPr>
          <p:spPr>
            <a:xfrm>
              <a:off x="69818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DEAAFBC6-EA67-5A84-824B-4E928676B526}"/>
                </a:ext>
              </a:extLst>
            </p:cNvPr>
            <p:cNvSpPr/>
            <p:nvPr/>
          </p:nvSpPr>
          <p:spPr>
            <a:xfrm>
              <a:off x="69818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D3E0127C-4001-D12E-18D6-79425B3BBBFC}"/>
                </a:ext>
              </a:extLst>
            </p:cNvPr>
            <p:cNvSpPr/>
            <p:nvPr/>
          </p:nvSpPr>
          <p:spPr>
            <a:xfrm>
              <a:off x="69818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A130F615-DC46-4748-7736-AE3D9A487C2A}"/>
                </a:ext>
              </a:extLst>
            </p:cNvPr>
            <p:cNvSpPr/>
            <p:nvPr/>
          </p:nvSpPr>
          <p:spPr>
            <a:xfrm>
              <a:off x="69818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26D79A12-4B7B-AFC6-BA49-0D28F85712CB}"/>
                </a:ext>
              </a:extLst>
            </p:cNvPr>
            <p:cNvSpPr/>
            <p:nvPr/>
          </p:nvSpPr>
          <p:spPr>
            <a:xfrm>
              <a:off x="69818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1C401BB0-438B-809A-D0F4-BA40C775AD61}"/>
                </a:ext>
              </a:extLst>
            </p:cNvPr>
            <p:cNvSpPr/>
            <p:nvPr/>
          </p:nvSpPr>
          <p:spPr>
            <a:xfrm>
              <a:off x="69818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3AD9A617-84AB-B2B9-F54F-5639E3749E0B}"/>
                </a:ext>
              </a:extLst>
            </p:cNvPr>
            <p:cNvSpPr/>
            <p:nvPr/>
          </p:nvSpPr>
          <p:spPr>
            <a:xfrm>
              <a:off x="69818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EE234F11-5D00-539A-7399-59C318A7839B}"/>
                </a:ext>
              </a:extLst>
            </p:cNvPr>
            <p:cNvSpPr/>
            <p:nvPr/>
          </p:nvSpPr>
          <p:spPr>
            <a:xfrm>
              <a:off x="69818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3A3CD2EE-1DE5-68F0-4B45-2DC395B34962}"/>
                </a:ext>
              </a:extLst>
            </p:cNvPr>
            <p:cNvSpPr/>
            <p:nvPr/>
          </p:nvSpPr>
          <p:spPr>
            <a:xfrm>
              <a:off x="69818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7C52D778-9049-4370-52CA-87918CEBDDDA}"/>
                </a:ext>
              </a:extLst>
            </p:cNvPr>
            <p:cNvSpPr/>
            <p:nvPr/>
          </p:nvSpPr>
          <p:spPr>
            <a:xfrm>
              <a:off x="69818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A1CFB350-E9B7-94CE-BF29-2655E6545289}"/>
                </a:ext>
              </a:extLst>
            </p:cNvPr>
            <p:cNvSpPr/>
            <p:nvPr/>
          </p:nvSpPr>
          <p:spPr>
            <a:xfrm>
              <a:off x="69818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EC730D16-01AE-B8AA-675B-15CE0C9B05E5}"/>
                </a:ext>
              </a:extLst>
            </p:cNvPr>
            <p:cNvSpPr/>
            <p:nvPr/>
          </p:nvSpPr>
          <p:spPr>
            <a:xfrm>
              <a:off x="69818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39B9A73F-4F98-C51C-5247-A722AAE70815}"/>
                </a:ext>
              </a:extLst>
            </p:cNvPr>
            <p:cNvSpPr/>
            <p:nvPr/>
          </p:nvSpPr>
          <p:spPr>
            <a:xfrm>
              <a:off x="70866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79BEB633-49A4-F22D-E5B6-B8A391D148CC}"/>
                </a:ext>
              </a:extLst>
            </p:cNvPr>
            <p:cNvSpPr/>
            <p:nvPr/>
          </p:nvSpPr>
          <p:spPr>
            <a:xfrm>
              <a:off x="70866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B75F7F14-29EA-4318-4ED1-EFFFBAF12180}"/>
                </a:ext>
              </a:extLst>
            </p:cNvPr>
            <p:cNvSpPr/>
            <p:nvPr/>
          </p:nvSpPr>
          <p:spPr>
            <a:xfrm>
              <a:off x="70866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8B0D36AA-45EC-9D77-18E3-BCF0D526680B}"/>
                </a:ext>
              </a:extLst>
            </p:cNvPr>
            <p:cNvSpPr/>
            <p:nvPr/>
          </p:nvSpPr>
          <p:spPr>
            <a:xfrm>
              <a:off x="70866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481C9B5F-B411-10F2-BF45-FB2007DC1F01}"/>
                </a:ext>
              </a:extLst>
            </p:cNvPr>
            <p:cNvSpPr/>
            <p:nvPr/>
          </p:nvSpPr>
          <p:spPr>
            <a:xfrm>
              <a:off x="70866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FF42532D-4B95-25B0-131A-3A62111ED6B5}"/>
                </a:ext>
              </a:extLst>
            </p:cNvPr>
            <p:cNvSpPr/>
            <p:nvPr/>
          </p:nvSpPr>
          <p:spPr>
            <a:xfrm>
              <a:off x="70866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B6021B17-EBB9-7E5A-BF0E-AF697F548137}"/>
                </a:ext>
              </a:extLst>
            </p:cNvPr>
            <p:cNvSpPr/>
            <p:nvPr/>
          </p:nvSpPr>
          <p:spPr>
            <a:xfrm>
              <a:off x="70866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01CD54BF-2B82-F4A6-12CB-59519DA9EADF}"/>
                </a:ext>
              </a:extLst>
            </p:cNvPr>
            <p:cNvSpPr/>
            <p:nvPr/>
          </p:nvSpPr>
          <p:spPr>
            <a:xfrm>
              <a:off x="70866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4C8133B2-7013-E06E-725C-DC7762C28B70}"/>
                </a:ext>
              </a:extLst>
            </p:cNvPr>
            <p:cNvSpPr/>
            <p:nvPr/>
          </p:nvSpPr>
          <p:spPr>
            <a:xfrm>
              <a:off x="70866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287C5E11-26A1-615D-EBA5-11B0DA144CDD}"/>
                </a:ext>
              </a:extLst>
            </p:cNvPr>
            <p:cNvSpPr/>
            <p:nvPr/>
          </p:nvSpPr>
          <p:spPr>
            <a:xfrm>
              <a:off x="70866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AF2D37B3-9D0A-990E-FEFC-63CB129E4239}"/>
                </a:ext>
              </a:extLst>
            </p:cNvPr>
            <p:cNvSpPr/>
            <p:nvPr/>
          </p:nvSpPr>
          <p:spPr>
            <a:xfrm>
              <a:off x="70866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61FAB459-5923-99D7-54C1-9B2040B9857D}"/>
                </a:ext>
              </a:extLst>
            </p:cNvPr>
            <p:cNvSpPr/>
            <p:nvPr/>
          </p:nvSpPr>
          <p:spPr>
            <a:xfrm>
              <a:off x="70866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B144ACBD-8417-C6EE-4A2E-EE4E3DCC8967}"/>
                </a:ext>
              </a:extLst>
            </p:cNvPr>
            <p:cNvSpPr/>
            <p:nvPr/>
          </p:nvSpPr>
          <p:spPr>
            <a:xfrm>
              <a:off x="70866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4C4D0E8D-314D-C417-E93F-126E61D8EDE8}"/>
                </a:ext>
              </a:extLst>
            </p:cNvPr>
            <p:cNvSpPr/>
            <p:nvPr/>
          </p:nvSpPr>
          <p:spPr>
            <a:xfrm>
              <a:off x="70866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0052742B-8DB0-36D7-0F65-183F8DF753D4}"/>
                </a:ext>
              </a:extLst>
            </p:cNvPr>
            <p:cNvSpPr/>
            <p:nvPr/>
          </p:nvSpPr>
          <p:spPr>
            <a:xfrm>
              <a:off x="70866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25A3E616-BFE6-715A-01CE-5986E0A95FC4}"/>
                </a:ext>
              </a:extLst>
            </p:cNvPr>
            <p:cNvSpPr/>
            <p:nvPr/>
          </p:nvSpPr>
          <p:spPr>
            <a:xfrm>
              <a:off x="70866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7D8786EA-1E6D-9852-22F4-E156CECE242D}"/>
                </a:ext>
              </a:extLst>
            </p:cNvPr>
            <p:cNvSpPr/>
            <p:nvPr/>
          </p:nvSpPr>
          <p:spPr>
            <a:xfrm>
              <a:off x="70866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EFBB1EDC-03D5-830A-B8F2-F1F01CDCA6D6}"/>
                </a:ext>
              </a:extLst>
            </p:cNvPr>
            <p:cNvSpPr/>
            <p:nvPr/>
          </p:nvSpPr>
          <p:spPr>
            <a:xfrm>
              <a:off x="70866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AB21F77B-C089-4D1C-6939-1E118949B03A}"/>
                </a:ext>
              </a:extLst>
            </p:cNvPr>
            <p:cNvSpPr/>
            <p:nvPr/>
          </p:nvSpPr>
          <p:spPr>
            <a:xfrm>
              <a:off x="70866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7FD82C17-82B4-F6C3-8071-BC0B4077BE88}"/>
                </a:ext>
              </a:extLst>
            </p:cNvPr>
            <p:cNvSpPr/>
            <p:nvPr/>
          </p:nvSpPr>
          <p:spPr>
            <a:xfrm>
              <a:off x="71913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A13B078A-82B7-F314-E108-8D8AEC598A3D}"/>
                </a:ext>
              </a:extLst>
            </p:cNvPr>
            <p:cNvSpPr/>
            <p:nvPr/>
          </p:nvSpPr>
          <p:spPr>
            <a:xfrm>
              <a:off x="71913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AD347BBA-08AF-2F7B-5502-B15AB09DC142}"/>
                </a:ext>
              </a:extLst>
            </p:cNvPr>
            <p:cNvSpPr/>
            <p:nvPr/>
          </p:nvSpPr>
          <p:spPr>
            <a:xfrm>
              <a:off x="71913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15665281-8DF4-33A1-594F-1644E4E90E1E}"/>
                </a:ext>
              </a:extLst>
            </p:cNvPr>
            <p:cNvSpPr/>
            <p:nvPr/>
          </p:nvSpPr>
          <p:spPr>
            <a:xfrm>
              <a:off x="71913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3" name="Freeform 1132">
              <a:extLst>
                <a:ext uri="{FF2B5EF4-FFF2-40B4-BE49-F238E27FC236}">
                  <a16:creationId xmlns:a16="http://schemas.microsoft.com/office/drawing/2014/main" id="{B68E7E8D-BBD7-4664-8AAF-D8C6F305E57F}"/>
                </a:ext>
              </a:extLst>
            </p:cNvPr>
            <p:cNvSpPr/>
            <p:nvPr/>
          </p:nvSpPr>
          <p:spPr>
            <a:xfrm>
              <a:off x="71913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223AE077-DC3E-FD40-D68E-B5C2F96CED0F}"/>
                </a:ext>
              </a:extLst>
            </p:cNvPr>
            <p:cNvSpPr/>
            <p:nvPr/>
          </p:nvSpPr>
          <p:spPr>
            <a:xfrm>
              <a:off x="71913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3018241E-917F-DB34-B71C-E6DA9924F6BF}"/>
                </a:ext>
              </a:extLst>
            </p:cNvPr>
            <p:cNvSpPr/>
            <p:nvPr/>
          </p:nvSpPr>
          <p:spPr>
            <a:xfrm>
              <a:off x="71913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6" name="Freeform 1135">
              <a:extLst>
                <a:ext uri="{FF2B5EF4-FFF2-40B4-BE49-F238E27FC236}">
                  <a16:creationId xmlns:a16="http://schemas.microsoft.com/office/drawing/2014/main" id="{64EB1230-1174-FB67-1D49-C7C3899B2A53}"/>
                </a:ext>
              </a:extLst>
            </p:cNvPr>
            <p:cNvSpPr/>
            <p:nvPr/>
          </p:nvSpPr>
          <p:spPr>
            <a:xfrm>
              <a:off x="71913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7" name="Freeform 1136">
              <a:extLst>
                <a:ext uri="{FF2B5EF4-FFF2-40B4-BE49-F238E27FC236}">
                  <a16:creationId xmlns:a16="http://schemas.microsoft.com/office/drawing/2014/main" id="{61FF2966-21BD-9D9A-700F-74B213CDA5CE}"/>
                </a:ext>
              </a:extLst>
            </p:cNvPr>
            <p:cNvSpPr/>
            <p:nvPr/>
          </p:nvSpPr>
          <p:spPr>
            <a:xfrm>
              <a:off x="71913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8" name="Freeform 1137">
              <a:extLst>
                <a:ext uri="{FF2B5EF4-FFF2-40B4-BE49-F238E27FC236}">
                  <a16:creationId xmlns:a16="http://schemas.microsoft.com/office/drawing/2014/main" id="{F54ACFFD-4A52-B9C8-BA85-8F2C19A393A9}"/>
                </a:ext>
              </a:extLst>
            </p:cNvPr>
            <p:cNvSpPr/>
            <p:nvPr/>
          </p:nvSpPr>
          <p:spPr>
            <a:xfrm>
              <a:off x="71913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9" name="Freeform 1138">
              <a:extLst>
                <a:ext uri="{FF2B5EF4-FFF2-40B4-BE49-F238E27FC236}">
                  <a16:creationId xmlns:a16="http://schemas.microsoft.com/office/drawing/2014/main" id="{F6C68E44-4AF7-EA01-A3E6-F798246610EB}"/>
                </a:ext>
              </a:extLst>
            </p:cNvPr>
            <p:cNvSpPr/>
            <p:nvPr/>
          </p:nvSpPr>
          <p:spPr>
            <a:xfrm>
              <a:off x="71913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0" name="Freeform 1139">
              <a:extLst>
                <a:ext uri="{FF2B5EF4-FFF2-40B4-BE49-F238E27FC236}">
                  <a16:creationId xmlns:a16="http://schemas.microsoft.com/office/drawing/2014/main" id="{44614F84-63D8-A7EC-E879-764B8BD6B64B}"/>
                </a:ext>
              </a:extLst>
            </p:cNvPr>
            <p:cNvSpPr/>
            <p:nvPr/>
          </p:nvSpPr>
          <p:spPr>
            <a:xfrm>
              <a:off x="71913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5B3A688F-94B8-C81F-9A1F-F5015F5DF6A1}"/>
                </a:ext>
              </a:extLst>
            </p:cNvPr>
            <p:cNvSpPr/>
            <p:nvPr/>
          </p:nvSpPr>
          <p:spPr>
            <a:xfrm>
              <a:off x="71913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33DA234E-BD6C-60C1-C49C-DABB2DD022BA}"/>
                </a:ext>
              </a:extLst>
            </p:cNvPr>
            <p:cNvSpPr/>
            <p:nvPr/>
          </p:nvSpPr>
          <p:spPr>
            <a:xfrm>
              <a:off x="71913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6128E1D-2FE9-8D19-609E-25915A8CB957}"/>
                </a:ext>
              </a:extLst>
            </p:cNvPr>
            <p:cNvSpPr/>
            <p:nvPr/>
          </p:nvSpPr>
          <p:spPr>
            <a:xfrm>
              <a:off x="71913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54854967-D5BA-95EE-1B20-99690B29F746}"/>
                </a:ext>
              </a:extLst>
            </p:cNvPr>
            <p:cNvSpPr/>
            <p:nvPr/>
          </p:nvSpPr>
          <p:spPr>
            <a:xfrm>
              <a:off x="71913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4A0BB9EF-5C2C-9242-B752-8E9DDF840215}"/>
                </a:ext>
              </a:extLst>
            </p:cNvPr>
            <p:cNvSpPr/>
            <p:nvPr/>
          </p:nvSpPr>
          <p:spPr>
            <a:xfrm>
              <a:off x="71913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25158A5-A736-F766-9DD3-C2C79F3FD589}"/>
                </a:ext>
              </a:extLst>
            </p:cNvPr>
            <p:cNvSpPr/>
            <p:nvPr/>
          </p:nvSpPr>
          <p:spPr>
            <a:xfrm>
              <a:off x="72961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F0CF2893-9D45-38A8-B5CD-58619C4D079F}"/>
                </a:ext>
              </a:extLst>
            </p:cNvPr>
            <p:cNvSpPr/>
            <p:nvPr/>
          </p:nvSpPr>
          <p:spPr>
            <a:xfrm>
              <a:off x="72961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0E439F17-1BBF-795D-7348-DF48CC5E94B3}"/>
                </a:ext>
              </a:extLst>
            </p:cNvPr>
            <p:cNvSpPr/>
            <p:nvPr/>
          </p:nvSpPr>
          <p:spPr>
            <a:xfrm>
              <a:off x="72961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9" name="Freeform 1148">
              <a:extLst>
                <a:ext uri="{FF2B5EF4-FFF2-40B4-BE49-F238E27FC236}">
                  <a16:creationId xmlns:a16="http://schemas.microsoft.com/office/drawing/2014/main" id="{62A884CF-731E-6225-59AB-145E6FA4A3A4}"/>
                </a:ext>
              </a:extLst>
            </p:cNvPr>
            <p:cNvSpPr/>
            <p:nvPr/>
          </p:nvSpPr>
          <p:spPr>
            <a:xfrm>
              <a:off x="72961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0" name="Freeform 1149">
              <a:extLst>
                <a:ext uri="{FF2B5EF4-FFF2-40B4-BE49-F238E27FC236}">
                  <a16:creationId xmlns:a16="http://schemas.microsoft.com/office/drawing/2014/main" id="{DB09F7BF-0E1A-F200-54E9-4D742965E06F}"/>
                </a:ext>
              </a:extLst>
            </p:cNvPr>
            <p:cNvSpPr/>
            <p:nvPr/>
          </p:nvSpPr>
          <p:spPr>
            <a:xfrm>
              <a:off x="72961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1" name="Freeform 1150">
              <a:extLst>
                <a:ext uri="{FF2B5EF4-FFF2-40B4-BE49-F238E27FC236}">
                  <a16:creationId xmlns:a16="http://schemas.microsoft.com/office/drawing/2014/main" id="{C333A2B3-94FC-AB64-3525-51E90D12C8FF}"/>
                </a:ext>
              </a:extLst>
            </p:cNvPr>
            <p:cNvSpPr/>
            <p:nvPr/>
          </p:nvSpPr>
          <p:spPr>
            <a:xfrm>
              <a:off x="72961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2" name="Freeform 1151">
              <a:extLst>
                <a:ext uri="{FF2B5EF4-FFF2-40B4-BE49-F238E27FC236}">
                  <a16:creationId xmlns:a16="http://schemas.microsoft.com/office/drawing/2014/main" id="{BB1C8EA3-6DE3-CDFA-0FC3-67B288BEF0C5}"/>
                </a:ext>
              </a:extLst>
            </p:cNvPr>
            <p:cNvSpPr/>
            <p:nvPr/>
          </p:nvSpPr>
          <p:spPr>
            <a:xfrm>
              <a:off x="72961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3" name="Freeform 1152">
              <a:extLst>
                <a:ext uri="{FF2B5EF4-FFF2-40B4-BE49-F238E27FC236}">
                  <a16:creationId xmlns:a16="http://schemas.microsoft.com/office/drawing/2014/main" id="{B423AE77-F20E-6459-D7C9-B804685893C0}"/>
                </a:ext>
              </a:extLst>
            </p:cNvPr>
            <p:cNvSpPr/>
            <p:nvPr/>
          </p:nvSpPr>
          <p:spPr>
            <a:xfrm>
              <a:off x="72961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1505619B-40C0-71E6-C29A-6E17E42C5B55}"/>
                </a:ext>
              </a:extLst>
            </p:cNvPr>
            <p:cNvSpPr/>
            <p:nvPr/>
          </p:nvSpPr>
          <p:spPr>
            <a:xfrm>
              <a:off x="72961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F6E64CDB-3903-CD59-F3BB-33082422804B}"/>
                </a:ext>
              </a:extLst>
            </p:cNvPr>
            <p:cNvSpPr/>
            <p:nvPr/>
          </p:nvSpPr>
          <p:spPr>
            <a:xfrm>
              <a:off x="72961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F1FA5A2-BA5D-3BA2-0658-D027E5771AC5}"/>
                </a:ext>
              </a:extLst>
            </p:cNvPr>
            <p:cNvSpPr/>
            <p:nvPr/>
          </p:nvSpPr>
          <p:spPr>
            <a:xfrm>
              <a:off x="72961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2A412BDB-5B36-CB61-A399-719041126462}"/>
                </a:ext>
              </a:extLst>
            </p:cNvPr>
            <p:cNvSpPr/>
            <p:nvPr/>
          </p:nvSpPr>
          <p:spPr>
            <a:xfrm>
              <a:off x="72961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DD109D3-908C-6F9E-6981-951A0F9E043D}"/>
                </a:ext>
              </a:extLst>
            </p:cNvPr>
            <p:cNvSpPr/>
            <p:nvPr/>
          </p:nvSpPr>
          <p:spPr>
            <a:xfrm>
              <a:off x="72961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15606DF5-A7E9-DDF4-A9A3-51D91CB657A0}"/>
                </a:ext>
              </a:extLst>
            </p:cNvPr>
            <p:cNvSpPr/>
            <p:nvPr/>
          </p:nvSpPr>
          <p:spPr>
            <a:xfrm>
              <a:off x="72961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BFE4317E-5376-A3F6-62B4-92C240396F66}"/>
                </a:ext>
              </a:extLst>
            </p:cNvPr>
            <p:cNvSpPr/>
            <p:nvPr/>
          </p:nvSpPr>
          <p:spPr>
            <a:xfrm>
              <a:off x="72961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51FFD888-5692-FA1E-6B63-6E7DC4527DE8}"/>
                </a:ext>
              </a:extLst>
            </p:cNvPr>
            <p:cNvSpPr/>
            <p:nvPr/>
          </p:nvSpPr>
          <p:spPr>
            <a:xfrm>
              <a:off x="72961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4B81294E-D086-59FC-4CDD-C2C80D079254}"/>
                </a:ext>
              </a:extLst>
            </p:cNvPr>
            <p:cNvSpPr/>
            <p:nvPr/>
          </p:nvSpPr>
          <p:spPr>
            <a:xfrm>
              <a:off x="72961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3E1702EF-A9C2-EE7B-C958-5E7D06A5CD9B}"/>
                </a:ext>
              </a:extLst>
            </p:cNvPr>
            <p:cNvSpPr/>
            <p:nvPr/>
          </p:nvSpPr>
          <p:spPr>
            <a:xfrm>
              <a:off x="72961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862712E4-A099-9F35-9345-35A72A41DEDE}"/>
                </a:ext>
              </a:extLst>
            </p:cNvPr>
            <p:cNvSpPr/>
            <p:nvPr/>
          </p:nvSpPr>
          <p:spPr>
            <a:xfrm>
              <a:off x="72961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671B2F0E-65E7-4962-13C6-6489DA345B08}"/>
                </a:ext>
              </a:extLst>
            </p:cNvPr>
            <p:cNvSpPr/>
            <p:nvPr/>
          </p:nvSpPr>
          <p:spPr>
            <a:xfrm>
              <a:off x="72961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A69A15DB-A4B6-4028-8D28-9A39C21B8582}"/>
                </a:ext>
              </a:extLst>
            </p:cNvPr>
            <p:cNvSpPr/>
            <p:nvPr/>
          </p:nvSpPr>
          <p:spPr>
            <a:xfrm>
              <a:off x="72961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072BDDC8-115C-2CE2-70CA-5793220CD85A}"/>
                </a:ext>
              </a:extLst>
            </p:cNvPr>
            <p:cNvSpPr/>
            <p:nvPr/>
          </p:nvSpPr>
          <p:spPr>
            <a:xfrm>
              <a:off x="72961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A560BD94-9097-8514-3FAA-1D3209CEA306}"/>
                </a:ext>
              </a:extLst>
            </p:cNvPr>
            <p:cNvSpPr/>
            <p:nvPr/>
          </p:nvSpPr>
          <p:spPr>
            <a:xfrm>
              <a:off x="72961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01502907-FDB5-7D08-8C19-ADB1B6FED94F}"/>
                </a:ext>
              </a:extLst>
            </p:cNvPr>
            <p:cNvSpPr/>
            <p:nvPr/>
          </p:nvSpPr>
          <p:spPr>
            <a:xfrm>
              <a:off x="74009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E793B321-3242-398D-BF0F-328D8B23FEC1}"/>
                </a:ext>
              </a:extLst>
            </p:cNvPr>
            <p:cNvSpPr/>
            <p:nvPr/>
          </p:nvSpPr>
          <p:spPr>
            <a:xfrm>
              <a:off x="74009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114E0394-0CD2-0814-3F91-4D8D97199069}"/>
                </a:ext>
              </a:extLst>
            </p:cNvPr>
            <p:cNvSpPr/>
            <p:nvPr/>
          </p:nvSpPr>
          <p:spPr>
            <a:xfrm>
              <a:off x="74009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E1DC1C6A-3993-505F-7FA2-C11D856B747F}"/>
                </a:ext>
              </a:extLst>
            </p:cNvPr>
            <p:cNvSpPr/>
            <p:nvPr/>
          </p:nvSpPr>
          <p:spPr>
            <a:xfrm>
              <a:off x="74009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B0BC32F1-D797-0136-32BF-678B50886221}"/>
                </a:ext>
              </a:extLst>
            </p:cNvPr>
            <p:cNvSpPr/>
            <p:nvPr/>
          </p:nvSpPr>
          <p:spPr>
            <a:xfrm>
              <a:off x="74009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17612EB0-9053-6E80-FC5F-C5C46BAC5155}"/>
                </a:ext>
              </a:extLst>
            </p:cNvPr>
            <p:cNvSpPr/>
            <p:nvPr/>
          </p:nvSpPr>
          <p:spPr>
            <a:xfrm>
              <a:off x="740092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A46BE30D-3700-7BF9-BB74-0DF8EF564BEC}"/>
                </a:ext>
              </a:extLst>
            </p:cNvPr>
            <p:cNvSpPr/>
            <p:nvPr/>
          </p:nvSpPr>
          <p:spPr>
            <a:xfrm>
              <a:off x="74009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A5A45ACA-6E21-38C7-7870-68D4C25CF5AC}"/>
                </a:ext>
              </a:extLst>
            </p:cNvPr>
            <p:cNvSpPr/>
            <p:nvPr/>
          </p:nvSpPr>
          <p:spPr>
            <a:xfrm>
              <a:off x="74009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C2338294-67E7-4230-35D2-35ADC8D5C1A2}"/>
                </a:ext>
              </a:extLst>
            </p:cNvPr>
            <p:cNvSpPr/>
            <p:nvPr/>
          </p:nvSpPr>
          <p:spPr>
            <a:xfrm>
              <a:off x="74009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CB9DE2A-E145-9E75-C52F-531441F11F55}"/>
                </a:ext>
              </a:extLst>
            </p:cNvPr>
            <p:cNvSpPr/>
            <p:nvPr/>
          </p:nvSpPr>
          <p:spPr>
            <a:xfrm>
              <a:off x="74009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69634A1B-85DD-267B-FEB9-8FB682C881BC}"/>
                </a:ext>
              </a:extLst>
            </p:cNvPr>
            <p:cNvSpPr/>
            <p:nvPr/>
          </p:nvSpPr>
          <p:spPr>
            <a:xfrm>
              <a:off x="74009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6471965D-6870-A72E-88E4-662C55726B6B}"/>
                </a:ext>
              </a:extLst>
            </p:cNvPr>
            <p:cNvSpPr/>
            <p:nvPr/>
          </p:nvSpPr>
          <p:spPr>
            <a:xfrm>
              <a:off x="74009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84A7904C-DF3A-4B9E-C766-1A758522504E}"/>
                </a:ext>
              </a:extLst>
            </p:cNvPr>
            <p:cNvSpPr/>
            <p:nvPr/>
          </p:nvSpPr>
          <p:spPr>
            <a:xfrm>
              <a:off x="74009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E89A9B29-DCBD-033B-6B15-599DF1E65C86}"/>
                </a:ext>
              </a:extLst>
            </p:cNvPr>
            <p:cNvSpPr/>
            <p:nvPr/>
          </p:nvSpPr>
          <p:spPr>
            <a:xfrm>
              <a:off x="74009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CE49ACC5-82D2-4E54-3ECC-8E6EECE07019}"/>
                </a:ext>
              </a:extLst>
            </p:cNvPr>
            <p:cNvSpPr/>
            <p:nvPr/>
          </p:nvSpPr>
          <p:spPr>
            <a:xfrm>
              <a:off x="74009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F56A9DE7-EEBB-62EA-5BD5-BC45E74099BB}"/>
                </a:ext>
              </a:extLst>
            </p:cNvPr>
            <p:cNvSpPr/>
            <p:nvPr/>
          </p:nvSpPr>
          <p:spPr>
            <a:xfrm>
              <a:off x="74009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0945FAE5-54D4-CDB4-69F8-E23A5EF0DF76}"/>
                </a:ext>
              </a:extLst>
            </p:cNvPr>
            <p:cNvSpPr/>
            <p:nvPr/>
          </p:nvSpPr>
          <p:spPr>
            <a:xfrm>
              <a:off x="74009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0D0F94AB-0991-3495-2584-2B72FEBA355F}"/>
                </a:ext>
              </a:extLst>
            </p:cNvPr>
            <p:cNvSpPr/>
            <p:nvPr/>
          </p:nvSpPr>
          <p:spPr>
            <a:xfrm>
              <a:off x="74009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BCC02E89-FAF5-036F-F4F3-CF4150B7B740}"/>
                </a:ext>
              </a:extLst>
            </p:cNvPr>
            <p:cNvSpPr/>
            <p:nvPr/>
          </p:nvSpPr>
          <p:spPr>
            <a:xfrm>
              <a:off x="75057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7ADE8C23-BB9F-1DCC-258A-94F7ABD85F6B}"/>
                </a:ext>
              </a:extLst>
            </p:cNvPr>
            <p:cNvSpPr/>
            <p:nvPr/>
          </p:nvSpPr>
          <p:spPr>
            <a:xfrm>
              <a:off x="75057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19228E1-5A62-4009-048F-875106EA6AB8}"/>
                </a:ext>
              </a:extLst>
            </p:cNvPr>
            <p:cNvSpPr/>
            <p:nvPr/>
          </p:nvSpPr>
          <p:spPr>
            <a:xfrm>
              <a:off x="75057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91FBA77D-AF1D-3862-BD2A-38C6E3E2E217}"/>
                </a:ext>
              </a:extLst>
            </p:cNvPr>
            <p:cNvSpPr/>
            <p:nvPr/>
          </p:nvSpPr>
          <p:spPr>
            <a:xfrm>
              <a:off x="75057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9F4A21AA-D8BF-3D77-1FCE-6F0EC4A961F2}"/>
                </a:ext>
              </a:extLst>
            </p:cNvPr>
            <p:cNvSpPr/>
            <p:nvPr/>
          </p:nvSpPr>
          <p:spPr>
            <a:xfrm>
              <a:off x="75057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B9AE20B8-1781-94E5-54E8-936EBA95ADD8}"/>
                </a:ext>
              </a:extLst>
            </p:cNvPr>
            <p:cNvSpPr/>
            <p:nvPr/>
          </p:nvSpPr>
          <p:spPr>
            <a:xfrm>
              <a:off x="75057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B8840F1E-616B-AA56-6960-983692269E61}"/>
                </a:ext>
              </a:extLst>
            </p:cNvPr>
            <p:cNvSpPr/>
            <p:nvPr/>
          </p:nvSpPr>
          <p:spPr>
            <a:xfrm>
              <a:off x="75057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F21A718A-94DF-5A5B-FB78-0976D719F492}"/>
                </a:ext>
              </a:extLst>
            </p:cNvPr>
            <p:cNvSpPr/>
            <p:nvPr/>
          </p:nvSpPr>
          <p:spPr>
            <a:xfrm>
              <a:off x="75057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9DE1B9D4-58A4-CB3B-2CF7-E78B1194573E}"/>
                </a:ext>
              </a:extLst>
            </p:cNvPr>
            <p:cNvSpPr/>
            <p:nvPr/>
          </p:nvSpPr>
          <p:spPr>
            <a:xfrm>
              <a:off x="75057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3BC2AF08-6C58-F71D-4905-375A787C7821}"/>
                </a:ext>
              </a:extLst>
            </p:cNvPr>
            <p:cNvSpPr/>
            <p:nvPr/>
          </p:nvSpPr>
          <p:spPr>
            <a:xfrm>
              <a:off x="75057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F914441B-A44A-CB3B-F9DE-0864F9EC2CB7}"/>
                </a:ext>
              </a:extLst>
            </p:cNvPr>
            <p:cNvSpPr/>
            <p:nvPr/>
          </p:nvSpPr>
          <p:spPr>
            <a:xfrm>
              <a:off x="75057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644AD72-152F-ACCB-977F-ADE3401D3CA1}"/>
                </a:ext>
              </a:extLst>
            </p:cNvPr>
            <p:cNvSpPr/>
            <p:nvPr/>
          </p:nvSpPr>
          <p:spPr>
            <a:xfrm>
              <a:off x="75057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ABD08A41-DBAA-088A-2A5F-37A691DB3857}"/>
                </a:ext>
              </a:extLst>
            </p:cNvPr>
            <p:cNvSpPr/>
            <p:nvPr/>
          </p:nvSpPr>
          <p:spPr>
            <a:xfrm>
              <a:off x="75057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35392D1F-B157-BC54-F605-DB3F9ED09B54}"/>
                </a:ext>
              </a:extLst>
            </p:cNvPr>
            <p:cNvSpPr/>
            <p:nvPr/>
          </p:nvSpPr>
          <p:spPr>
            <a:xfrm>
              <a:off x="75057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91B2BA9A-63F7-7A26-A4D3-9AF8E39DE92F}"/>
                </a:ext>
              </a:extLst>
            </p:cNvPr>
            <p:cNvSpPr/>
            <p:nvPr/>
          </p:nvSpPr>
          <p:spPr>
            <a:xfrm>
              <a:off x="75057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132D6123-D4F2-9A56-D426-513BC743DDB2}"/>
                </a:ext>
              </a:extLst>
            </p:cNvPr>
            <p:cNvSpPr/>
            <p:nvPr/>
          </p:nvSpPr>
          <p:spPr>
            <a:xfrm>
              <a:off x="750570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FFB14AA9-0050-3BCD-DB09-7910F72A6CAA}"/>
                </a:ext>
              </a:extLst>
            </p:cNvPr>
            <p:cNvSpPr/>
            <p:nvPr/>
          </p:nvSpPr>
          <p:spPr>
            <a:xfrm>
              <a:off x="76104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7C74537E-5B35-D03A-5544-0FD70D89B2F2}"/>
                </a:ext>
              </a:extLst>
            </p:cNvPr>
            <p:cNvSpPr/>
            <p:nvPr/>
          </p:nvSpPr>
          <p:spPr>
            <a:xfrm>
              <a:off x="76104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62FF08E2-E470-9B4E-EF46-3743B41CAFE5}"/>
                </a:ext>
              </a:extLst>
            </p:cNvPr>
            <p:cNvSpPr/>
            <p:nvPr/>
          </p:nvSpPr>
          <p:spPr>
            <a:xfrm>
              <a:off x="76104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1B9358FF-3A56-86DC-19BB-1687D60FF7E4}"/>
                </a:ext>
              </a:extLst>
            </p:cNvPr>
            <p:cNvSpPr/>
            <p:nvPr/>
          </p:nvSpPr>
          <p:spPr>
            <a:xfrm>
              <a:off x="76104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A420857B-0CB1-C6BE-C053-F3DB954EA6FE}"/>
                </a:ext>
              </a:extLst>
            </p:cNvPr>
            <p:cNvSpPr/>
            <p:nvPr/>
          </p:nvSpPr>
          <p:spPr>
            <a:xfrm>
              <a:off x="76104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BBA5EB5-7B95-CDC6-779A-91BB79812ECC}"/>
                </a:ext>
              </a:extLst>
            </p:cNvPr>
            <p:cNvSpPr/>
            <p:nvPr/>
          </p:nvSpPr>
          <p:spPr>
            <a:xfrm>
              <a:off x="761047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F10DBCDA-BDFA-AD8B-6C09-3B492D87A0A9}"/>
                </a:ext>
              </a:extLst>
            </p:cNvPr>
            <p:cNvSpPr/>
            <p:nvPr/>
          </p:nvSpPr>
          <p:spPr>
            <a:xfrm>
              <a:off x="76104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C66E52-F1C1-5B8C-0DB1-26D5C28672C5}"/>
                </a:ext>
              </a:extLst>
            </p:cNvPr>
            <p:cNvSpPr/>
            <p:nvPr/>
          </p:nvSpPr>
          <p:spPr>
            <a:xfrm>
              <a:off x="76104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B6ED15F5-AC47-7C13-701B-C79B7175DEC0}"/>
                </a:ext>
              </a:extLst>
            </p:cNvPr>
            <p:cNvSpPr/>
            <p:nvPr/>
          </p:nvSpPr>
          <p:spPr>
            <a:xfrm>
              <a:off x="76104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54027A3A-F077-08D3-B2EF-EF6242A52B5B}"/>
                </a:ext>
              </a:extLst>
            </p:cNvPr>
            <p:cNvSpPr/>
            <p:nvPr/>
          </p:nvSpPr>
          <p:spPr>
            <a:xfrm>
              <a:off x="76104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103050DE-4993-6361-57D5-966373152C34}"/>
                </a:ext>
              </a:extLst>
            </p:cNvPr>
            <p:cNvSpPr/>
            <p:nvPr/>
          </p:nvSpPr>
          <p:spPr>
            <a:xfrm>
              <a:off x="76104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4" name="Freeform 1213">
              <a:extLst>
                <a:ext uri="{FF2B5EF4-FFF2-40B4-BE49-F238E27FC236}">
                  <a16:creationId xmlns:a16="http://schemas.microsoft.com/office/drawing/2014/main" id="{E46C48CD-75ED-F144-83CC-2F01E5FA6539}"/>
                </a:ext>
              </a:extLst>
            </p:cNvPr>
            <p:cNvSpPr/>
            <p:nvPr/>
          </p:nvSpPr>
          <p:spPr>
            <a:xfrm>
              <a:off x="76104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D4BC9D56-0568-20DF-4180-EC9BE23D2A2A}"/>
                </a:ext>
              </a:extLst>
            </p:cNvPr>
            <p:cNvSpPr/>
            <p:nvPr/>
          </p:nvSpPr>
          <p:spPr>
            <a:xfrm>
              <a:off x="76104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CA6A62BE-6B5F-C9E5-55BE-6902B6443750}"/>
                </a:ext>
              </a:extLst>
            </p:cNvPr>
            <p:cNvSpPr/>
            <p:nvPr/>
          </p:nvSpPr>
          <p:spPr>
            <a:xfrm>
              <a:off x="77152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7" name="Freeform 1216">
              <a:extLst>
                <a:ext uri="{FF2B5EF4-FFF2-40B4-BE49-F238E27FC236}">
                  <a16:creationId xmlns:a16="http://schemas.microsoft.com/office/drawing/2014/main" id="{AB08CD70-387C-2413-7B98-1C1997A6E825}"/>
                </a:ext>
              </a:extLst>
            </p:cNvPr>
            <p:cNvSpPr/>
            <p:nvPr/>
          </p:nvSpPr>
          <p:spPr>
            <a:xfrm>
              <a:off x="77152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8" name="Freeform 1217">
              <a:extLst>
                <a:ext uri="{FF2B5EF4-FFF2-40B4-BE49-F238E27FC236}">
                  <a16:creationId xmlns:a16="http://schemas.microsoft.com/office/drawing/2014/main" id="{773FF6BA-16E4-F940-C035-AC9C90D7F07A}"/>
                </a:ext>
              </a:extLst>
            </p:cNvPr>
            <p:cNvSpPr/>
            <p:nvPr/>
          </p:nvSpPr>
          <p:spPr>
            <a:xfrm>
              <a:off x="77152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9" name="Freeform 1218">
              <a:extLst>
                <a:ext uri="{FF2B5EF4-FFF2-40B4-BE49-F238E27FC236}">
                  <a16:creationId xmlns:a16="http://schemas.microsoft.com/office/drawing/2014/main" id="{09D39FC4-7F4F-9084-F20A-C96E6BF7D6E4}"/>
                </a:ext>
              </a:extLst>
            </p:cNvPr>
            <p:cNvSpPr/>
            <p:nvPr/>
          </p:nvSpPr>
          <p:spPr>
            <a:xfrm>
              <a:off x="77152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0" name="Freeform 1219">
              <a:extLst>
                <a:ext uri="{FF2B5EF4-FFF2-40B4-BE49-F238E27FC236}">
                  <a16:creationId xmlns:a16="http://schemas.microsoft.com/office/drawing/2014/main" id="{438D5384-6D86-613E-18A4-E733AEB97613}"/>
                </a:ext>
              </a:extLst>
            </p:cNvPr>
            <p:cNvSpPr/>
            <p:nvPr/>
          </p:nvSpPr>
          <p:spPr>
            <a:xfrm>
              <a:off x="77152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1" name="Freeform 1220">
              <a:extLst>
                <a:ext uri="{FF2B5EF4-FFF2-40B4-BE49-F238E27FC236}">
                  <a16:creationId xmlns:a16="http://schemas.microsoft.com/office/drawing/2014/main" id="{AFB07EEE-BAEF-1510-D6BE-856E2317E41A}"/>
                </a:ext>
              </a:extLst>
            </p:cNvPr>
            <p:cNvSpPr/>
            <p:nvPr/>
          </p:nvSpPr>
          <p:spPr>
            <a:xfrm>
              <a:off x="77152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27425224-C97B-751B-EE1D-4EDF39809F9B}"/>
                </a:ext>
              </a:extLst>
            </p:cNvPr>
            <p:cNvSpPr/>
            <p:nvPr/>
          </p:nvSpPr>
          <p:spPr>
            <a:xfrm>
              <a:off x="77152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4A3107A1-EE41-2A07-9C15-24B907F02CD7}"/>
                </a:ext>
              </a:extLst>
            </p:cNvPr>
            <p:cNvSpPr/>
            <p:nvPr/>
          </p:nvSpPr>
          <p:spPr>
            <a:xfrm>
              <a:off x="77152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6A417AA5-46BF-82FB-210F-70FF926F959C}"/>
                </a:ext>
              </a:extLst>
            </p:cNvPr>
            <p:cNvSpPr/>
            <p:nvPr/>
          </p:nvSpPr>
          <p:spPr>
            <a:xfrm>
              <a:off x="77152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35C0C7AB-804E-AE26-6D70-3854D9941491}"/>
                </a:ext>
              </a:extLst>
            </p:cNvPr>
            <p:cNvSpPr/>
            <p:nvPr/>
          </p:nvSpPr>
          <p:spPr>
            <a:xfrm>
              <a:off x="77152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D266D0F1-2852-5543-E6F6-A311F3D2FFD0}"/>
                </a:ext>
              </a:extLst>
            </p:cNvPr>
            <p:cNvSpPr/>
            <p:nvPr/>
          </p:nvSpPr>
          <p:spPr>
            <a:xfrm>
              <a:off x="77152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59741398-AFBB-B112-CB82-4A5B9AC64AF9}"/>
                </a:ext>
              </a:extLst>
            </p:cNvPr>
            <p:cNvSpPr/>
            <p:nvPr/>
          </p:nvSpPr>
          <p:spPr>
            <a:xfrm>
              <a:off x="77152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B959855E-053E-FDD0-9211-0ABD3A7F0370}"/>
                </a:ext>
              </a:extLst>
            </p:cNvPr>
            <p:cNvSpPr/>
            <p:nvPr/>
          </p:nvSpPr>
          <p:spPr>
            <a:xfrm>
              <a:off x="77152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1A455A18-427D-1B21-0E61-85A35322E634}"/>
                </a:ext>
              </a:extLst>
            </p:cNvPr>
            <p:cNvSpPr/>
            <p:nvPr/>
          </p:nvSpPr>
          <p:spPr>
            <a:xfrm>
              <a:off x="77152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0" name="Freeform 1229">
              <a:extLst>
                <a:ext uri="{FF2B5EF4-FFF2-40B4-BE49-F238E27FC236}">
                  <a16:creationId xmlns:a16="http://schemas.microsoft.com/office/drawing/2014/main" id="{E09EDE02-FA36-6117-8103-932CFECD9371}"/>
                </a:ext>
              </a:extLst>
            </p:cNvPr>
            <p:cNvSpPr/>
            <p:nvPr/>
          </p:nvSpPr>
          <p:spPr>
            <a:xfrm>
              <a:off x="77152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1" name="Freeform 1230">
              <a:extLst>
                <a:ext uri="{FF2B5EF4-FFF2-40B4-BE49-F238E27FC236}">
                  <a16:creationId xmlns:a16="http://schemas.microsoft.com/office/drawing/2014/main" id="{159D5E1D-77F8-6FE3-ADE4-E51267EAF767}"/>
                </a:ext>
              </a:extLst>
            </p:cNvPr>
            <p:cNvSpPr/>
            <p:nvPr/>
          </p:nvSpPr>
          <p:spPr>
            <a:xfrm>
              <a:off x="77152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2" name="Freeform 1231">
              <a:extLst>
                <a:ext uri="{FF2B5EF4-FFF2-40B4-BE49-F238E27FC236}">
                  <a16:creationId xmlns:a16="http://schemas.microsoft.com/office/drawing/2014/main" id="{87AE0532-20B3-B15E-59C4-25FD9A1D0280}"/>
                </a:ext>
              </a:extLst>
            </p:cNvPr>
            <p:cNvSpPr/>
            <p:nvPr/>
          </p:nvSpPr>
          <p:spPr>
            <a:xfrm>
              <a:off x="77152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3" name="Freeform 1232">
              <a:extLst>
                <a:ext uri="{FF2B5EF4-FFF2-40B4-BE49-F238E27FC236}">
                  <a16:creationId xmlns:a16="http://schemas.microsoft.com/office/drawing/2014/main" id="{3DF5B9EC-DB1C-CC56-F260-8CB36BEAE77F}"/>
                </a:ext>
              </a:extLst>
            </p:cNvPr>
            <p:cNvSpPr/>
            <p:nvPr/>
          </p:nvSpPr>
          <p:spPr>
            <a:xfrm>
              <a:off x="77152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4" name="Freeform 1233">
              <a:extLst>
                <a:ext uri="{FF2B5EF4-FFF2-40B4-BE49-F238E27FC236}">
                  <a16:creationId xmlns:a16="http://schemas.microsoft.com/office/drawing/2014/main" id="{78DD2A9C-73AB-38BC-34A6-399BD98279EF}"/>
                </a:ext>
              </a:extLst>
            </p:cNvPr>
            <p:cNvSpPr/>
            <p:nvPr/>
          </p:nvSpPr>
          <p:spPr>
            <a:xfrm>
              <a:off x="77152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64397C0A-693E-A783-D009-B29C1B9479FD}"/>
                </a:ext>
              </a:extLst>
            </p:cNvPr>
            <p:cNvSpPr/>
            <p:nvPr/>
          </p:nvSpPr>
          <p:spPr>
            <a:xfrm>
              <a:off x="77152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FC6716F3-706E-2DD8-8F09-BDA75DF2EF36}"/>
                </a:ext>
              </a:extLst>
            </p:cNvPr>
            <p:cNvSpPr/>
            <p:nvPr/>
          </p:nvSpPr>
          <p:spPr>
            <a:xfrm>
              <a:off x="77152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F8153B25-E569-A7A7-0C93-29F21E74E713}"/>
                </a:ext>
              </a:extLst>
            </p:cNvPr>
            <p:cNvSpPr/>
            <p:nvPr/>
          </p:nvSpPr>
          <p:spPr>
            <a:xfrm>
              <a:off x="78200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21A282FD-9ACA-0C9D-20BF-71DC15A2F19D}"/>
                </a:ext>
              </a:extLst>
            </p:cNvPr>
            <p:cNvSpPr/>
            <p:nvPr/>
          </p:nvSpPr>
          <p:spPr>
            <a:xfrm>
              <a:off x="78200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1FD369EA-149B-21D5-5A4A-671C65C40C93}"/>
                </a:ext>
              </a:extLst>
            </p:cNvPr>
            <p:cNvSpPr/>
            <p:nvPr/>
          </p:nvSpPr>
          <p:spPr>
            <a:xfrm>
              <a:off x="78200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E05B96A2-63E0-04B8-1EEA-C1F2407DF7E5}"/>
                </a:ext>
              </a:extLst>
            </p:cNvPr>
            <p:cNvSpPr/>
            <p:nvPr/>
          </p:nvSpPr>
          <p:spPr>
            <a:xfrm>
              <a:off x="78200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5B3E59E6-AB71-1AEC-DD8D-BA350F969F9B}"/>
                </a:ext>
              </a:extLst>
            </p:cNvPr>
            <p:cNvSpPr/>
            <p:nvPr/>
          </p:nvSpPr>
          <p:spPr>
            <a:xfrm>
              <a:off x="78200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1ACA16FC-97EB-F8FE-59F8-1CC1A7537D1B}"/>
                </a:ext>
              </a:extLst>
            </p:cNvPr>
            <p:cNvSpPr/>
            <p:nvPr/>
          </p:nvSpPr>
          <p:spPr>
            <a:xfrm>
              <a:off x="782002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76392286-CE05-429B-8DDD-FD0E969E772F}"/>
                </a:ext>
              </a:extLst>
            </p:cNvPr>
            <p:cNvSpPr/>
            <p:nvPr/>
          </p:nvSpPr>
          <p:spPr>
            <a:xfrm>
              <a:off x="78200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342CC27F-C355-55BE-B870-85C283DA508D}"/>
                </a:ext>
              </a:extLst>
            </p:cNvPr>
            <p:cNvSpPr/>
            <p:nvPr/>
          </p:nvSpPr>
          <p:spPr>
            <a:xfrm>
              <a:off x="78200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126282FF-6FA3-D406-8225-A440D48874B4}"/>
                </a:ext>
              </a:extLst>
            </p:cNvPr>
            <p:cNvSpPr/>
            <p:nvPr/>
          </p:nvSpPr>
          <p:spPr>
            <a:xfrm>
              <a:off x="78200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3CA1486B-D654-F52A-E823-A99D513DA621}"/>
                </a:ext>
              </a:extLst>
            </p:cNvPr>
            <p:cNvSpPr/>
            <p:nvPr/>
          </p:nvSpPr>
          <p:spPr>
            <a:xfrm>
              <a:off x="78200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57E91A08-A466-CD31-DA02-4970A3EB49AB}"/>
                </a:ext>
              </a:extLst>
            </p:cNvPr>
            <p:cNvSpPr/>
            <p:nvPr/>
          </p:nvSpPr>
          <p:spPr>
            <a:xfrm>
              <a:off x="78200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D2D73B81-323D-237B-0376-E7F34E5CC67F}"/>
                </a:ext>
              </a:extLst>
            </p:cNvPr>
            <p:cNvSpPr/>
            <p:nvPr/>
          </p:nvSpPr>
          <p:spPr>
            <a:xfrm>
              <a:off x="78200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92D03245-6363-83AE-E28E-DF98498044DA}"/>
                </a:ext>
              </a:extLst>
            </p:cNvPr>
            <p:cNvSpPr/>
            <p:nvPr/>
          </p:nvSpPr>
          <p:spPr>
            <a:xfrm>
              <a:off x="78200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6430ADD6-150C-0D8F-1DB0-2011CFBBD5AF}"/>
                </a:ext>
              </a:extLst>
            </p:cNvPr>
            <p:cNvSpPr/>
            <p:nvPr/>
          </p:nvSpPr>
          <p:spPr>
            <a:xfrm>
              <a:off x="78200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5C7B7198-FB23-56E9-8EAB-2285EEC3EC85}"/>
                </a:ext>
              </a:extLst>
            </p:cNvPr>
            <p:cNvSpPr/>
            <p:nvPr/>
          </p:nvSpPr>
          <p:spPr>
            <a:xfrm>
              <a:off x="78200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434EF52A-6102-29BB-E9F4-036F220AEE0E}"/>
                </a:ext>
              </a:extLst>
            </p:cNvPr>
            <p:cNvSpPr/>
            <p:nvPr/>
          </p:nvSpPr>
          <p:spPr>
            <a:xfrm>
              <a:off x="78200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D34FE013-C253-2F16-EC76-DC72D812BA53}"/>
                </a:ext>
              </a:extLst>
            </p:cNvPr>
            <p:cNvSpPr/>
            <p:nvPr/>
          </p:nvSpPr>
          <p:spPr>
            <a:xfrm>
              <a:off x="79248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7D02BE5E-E727-F59D-22BC-FE08C5B6F068}"/>
                </a:ext>
              </a:extLst>
            </p:cNvPr>
            <p:cNvSpPr/>
            <p:nvPr/>
          </p:nvSpPr>
          <p:spPr>
            <a:xfrm>
              <a:off x="79248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4CCAFFC9-348F-E7C1-DBEE-53D07DD7905E}"/>
                </a:ext>
              </a:extLst>
            </p:cNvPr>
            <p:cNvSpPr/>
            <p:nvPr/>
          </p:nvSpPr>
          <p:spPr>
            <a:xfrm>
              <a:off x="79248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C2CD95F8-515D-6D5C-26F2-4134C564C4B2}"/>
                </a:ext>
              </a:extLst>
            </p:cNvPr>
            <p:cNvSpPr/>
            <p:nvPr/>
          </p:nvSpPr>
          <p:spPr>
            <a:xfrm>
              <a:off x="79248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B09BDA5-59F5-2705-C2F7-F66853241D69}"/>
                </a:ext>
              </a:extLst>
            </p:cNvPr>
            <p:cNvSpPr/>
            <p:nvPr/>
          </p:nvSpPr>
          <p:spPr>
            <a:xfrm>
              <a:off x="79248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6F9D8AB1-40E4-591E-B805-703C9B43B247}"/>
                </a:ext>
              </a:extLst>
            </p:cNvPr>
            <p:cNvSpPr/>
            <p:nvPr/>
          </p:nvSpPr>
          <p:spPr>
            <a:xfrm>
              <a:off x="79248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EB6DA5C4-A057-775B-C05C-2A6902D341EE}"/>
                </a:ext>
              </a:extLst>
            </p:cNvPr>
            <p:cNvSpPr/>
            <p:nvPr/>
          </p:nvSpPr>
          <p:spPr>
            <a:xfrm>
              <a:off x="79248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404251E4-7CE8-CD12-3835-0BCF3870BFAA}"/>
                </a:ext>
              </a:extLst>
            </p:cNvPr>
            <p:cNvSpPr/>
            <p:nvPr/>
          </p:nvSpPr>
          <p:spPr>
            <a:xfrm>
              <a:off x="79248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72807444-6C2C-B9C0-5A2C-7166289AB498}"/>
                </a:ext>
              </a:extLst>
            </p:cNvPr>
            <p:cNvSpPr/>
            <p:nvPr/>
          </p:nvSpPr>
          <p:spPr>
            <a:xfrm>
              <a:off x="792480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CF953F31-B816-479B-7BF7-3E9C5EEFABCF}"/>
                </a:ext>
              </a:extLst>
            </p:cNvPr>
            <p:cNvSpPr/>
            <p:nvPr/>
          </p:nvSpPr>
          <p:spPr>
            <a:xfrm>
              <a:off x="79248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855A5AAD-F4CC-4E67-B5BE-E4205D9CEA56}"/>
                </a:ext>
              </a:extLst>
            </p:cNvPr>
            <p:cNvSpPr/>
            <p:nvPr/>
          </p:nvSpPr>
          <p:spPr>
            <a:xfrm>
              <a:off x="79248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B6B47045-BAC1-92D4-72A9-3CAD5833D46C}"/>
                </a:ext>
              </a:extLst>
            </p:cNvPr>
            <p:cNvSpPr/>
            <p:nvPr/>
          </p:nvSpPr>
          <p:spPr>
            <a:xfrm>
              <a:off x="79248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60780F1A-7470-6F30-9051-A4B7741A4F37}"/>
                </a:ext>
              </a:extLst>
            </p:cNvPr>
            <p:cNvSpPr/>
            <p:nvPr/>
          </p:nvSpPr>
          <p:spPr>
            <a:xfrm>
              <a:off x="79248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00BCE13D-F858-A740-A469-38E8D2FCC48D}"/>
                </a:ext>
              </a:extLst>
            </p:cNvPr>
            <p:cNvSpPr/>
            <p:nvPr/>
          </p:nvSpPr>
          <p:spPr>
            <a:xfrm>
              <a:off x="79248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B1291853-3CE2-E8D1-90E1-EB4B3488DBBB}"/>
                </a:ext>
              </a:extLst>
            </p:cNvPr>
            <p:cNvSpPr/>
            <p:nvPr/>
          </p:nvSpPr>
          <p:spPr>
            <a:xfrm>
              <a:off x="79248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E2FDDC89-6151-47F1-FD92-E7D436FE699E}"/>
                </a:ext>
              </a:extLst>
            </p:cNvPr>
            <p:cNvSpPr/>
            <p:nvPr/>
          </p:nvSpPr>
          <p:spPr>
            <a:xfrm>
              <a:off x="79248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0E93623E-B94E-7217-CE67-DE832644297B}"/>
                </a:ext>
              </a:extLst>
            </p:cNvPr>
            <p:cNvSpPr/>
            <p:nvPr/>
          </p:nvSpPr>
          <p:spPr>
            <a:xfrm>
              <a:off x="79248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D090C7D0-2353-C548-3387-24D1A4F6C319}"/>
                </a:ext>
              </a:extLst>
            </p:cNvPr>
            <p:cNvSpPr/>
            <p:nvPr/>
          </p:nvSpPr>
          <p:spPr>
            <a:xfrm>
              <a:off x="79248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75FF0E80-609F-A2B8-01C9-E14DD610163C}"/>
                </a:ext>
              </a:extLst>
            </p:cNvPr>
            <p:cNvSpPr/>
            <p:nvPr/>
          </p:nvSpPr>
          <p:spPr>
            <a:xfrm>
              <a:off x="80295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C069BBA3-A2F9-E5C2-0471-89738A59FC0A}"/>
                </a:ext>
              </a:extLst>
            </p:cNvPr>
            <p:cNvSpPr/>
            <p:nvPr/>
          </p:nvSpPr>
          <p:spPr>
            <a:xfrm>
              <a:off x="80295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13C7E2F8-1520-D179-208E-6149F06F025C}"/>
                </a:ext>
              </a:extLst>
            </p:cNvPr>
            <p:cNvSpPr/>
            <p:nvPr/>
          </p:nvSpPr>
          <p:spPr>
            <a:xfrm>
              <a:off x="80295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3AD827E5-FF2E-AAF6-A410-F00C9DA35F2E}"/>
                </a:ext>
              </a:extLst>
            </p:cNvPr>
            <p:cNvSpPr/>
            <p:nvPr/>
          </p:nvSpPr>
          <p:spPr>
            <a:xfrm>
              <a:off x="80295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E3AA3F9D-8C36-9821-9643-8E5CFF3A00B4}"/>
                </a:ext>
              </a:extLst>
            </p:cNvPr>
            <p:cNvSpPr/>
            <p:nvPr/>
          </p:nvSpPr>
          <p:spPr>
            <a:xfrm>
              <a:off x="8029575"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1EA48560-1FCA-F223-863F-D98E1C67441C}"/>
                </a:ext>
              </a:extLst>
            </p:cNvPr>
            <p:cNvSpPr/>
            <p:nvPr/>
          </p:nvSpPr>
          <p:spPr>
            <a:xfrm>
              <a:off x="80295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536AFA49-F12B-0888-83F1-4A136F44C87A}"/>
                </a:ext>
              </a:extLst>
            </p:cNvPr>
            <p:cNvSpPr/>
            <p:nvPr/>
          </p:nvSpPr>
          <p:spPr>
            <a:xfrm>
              <a:off x="80295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36DE8B2C-5FAC-7E82-3C31-19CAFCFB9EE3}"/>
                </a:ext>
              </a:extLst>
            </p:cNvPr>
            <p:cNvSpPr/>
            <p:nvPr/>
          </p:nvSpPr>
          <p:spPr>
            <a:xfrm>
              <a:off x="80295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1B97A303-EC28-F238-0CA6-7422C83765CD}"/>
                </a:ext>
              </a:extLst>
            </p:cNvPr>
            <p:cNvSpPr/>
            <p:nvPr/>
          </p:nvSpPr>
          <p:spPr>
            <a:xfrm>
              <a:off x="80295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A912D194-E0C7-7E40-6773-D66FC7D3AD05}"/>
                </a:ext>
              </a:extLst>
            </p:cNvPr>
            <p:cNvSpPr/>
            <p:nvPr/>
          </p:nvSpPr>
          <p:spPr>
            <a:xfrm>
              <a:off x="80295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C174F7A1-5D18-4AF1-32C7-F07B792DA326}"/>
                </a:ext>
              </a:extLst>
            </p:cNvPr>
            <p:cNvSpPr/>
            <p:nvPr/>
          </p:nvSpPr>
          <p:spPr>
            <a:xfrm>
              <a:off x="80295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4622AA77-11B0-D927-D731-9A825B9A75D2}"/>
                </a:ext>
              </a:extLst>
            </p:cNvPr>
            <p:cNvSpPr/>
            <p:nvPr/>
          </p:nvSpPr>
          <p:spPr>
            <a:xfrm>
              <a:off x="80295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6C8811F7-0F32-6255-D9F7-D901071D7EF6}"/>
                </a:ext>
              </a:extLst>
            </p:cNvPr>
            <p:cNvSpPr/>
            <p:nvPr/>
          </p:nvSpPr>
          <p:spPr>
            <a:xfrm>
              <a:off x="81343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DC00572-CEC5-8FD7-6EAF-CF4D525D473E}"/>
                </a:ext>
              </a:extLst>
            </p:cNvPr>
            <p:cNvSpPr/>
            <p:nvPr/>
          </p:nvSpPr>
          <p:spPr>
            <a:xfrm>
              <a:off x="8134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E0D08111-0963-ADD3-3E33-620715CA41E6}"/>
                </a:ext>
              </a:extLst>
            </p:cNvPr>
            <p:cNvSpPr/>
            <p:nvPr/>
          </p:nvSpPr>
          <p:spPr>
            <a:xfrm>
              <a:off x="8134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307A7854-5239-CCE8-8AF3-9EA3251FEACB}"/>
                </a:ext>
              </a:extLst>
            </p:cNvPr>
            <p:cNvSpPr/>
            <p:nvPr/>
          </p:nvSpPr>
          <p:spPr>
            <a:xfrm>
              <a:off x="81343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8F12B65F-75BE-D405-F195-615B652BD0E0}"/>
                </a:ext>
              </a:extLst>
            </p:cNvPr>
            <p:cNvSpPr/>
            <p:nvPr/>
          </p:nvSpPr>
          <p:spPr>
            <a:xfrm>
              <a:off x="8134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3C0E8CA1-3BE5-8E67-01DE-6E7C386802C3}"/>
                </a:ext>
              </a:extLst>
            </p:cNvPr>
            <p:cNvSpPr/>
            <p:nvPr/>
          </p:nvSpPr>
          <p:spPr>
            <a:xfrm>
              <a:off x="81343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F5BD6872-996D-164A-9BFA-9C782C079418}"/>
                </a:ext>
              </a:extLst>
            </p:cNvPr>
            <p:cNvSpPr/>
            <p:nvPr/>
          </p:nvSpPr>
          <p:spPr>
            <a:xfrm>
              <a:off x="81343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2274AC51-D8FA-291E-099A-48D0EC208089}"/>
                </a:ext>
              </a:extLst>
            </p:cNvPr>
            <p:cNvSpPr/>
            <p:nvPr/>
          </p:nvSpPr>
          <p:spPr>
            <a:xfrm>
              <a:off x="81343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15DA8192-F2B2-97F2-C90C-3D5A77C0A619}"/>
                </a:ext>
              </a:extLst>
            </p:cNvPr>
            <p:cNvSpPr/>
            <p:nvPr/>
          </p:nvSpPr>
          <p:spPr>
            <a:xfrm>
              <a:off x="81343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0EDE9A20-8488-F1FF-27FF-CA5D89FCF897}"/>
                </a:ext>
              </a:extLst>
            </p:cNvPr>
            <p:cNvSpPr/>
            <p:nvPr/>
          </p:nvSpPr>
          <p:spPr>
            <a:xfrm>
              <a:off x="81343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1DBA68BD-4F6F-BBD7-1EB6-CBC9EA75FA36}"/>
                </a:ext>
              </a:extLst>
            </p:cNvPr>
            <p:cNvSpPr/>
            <p:nvPr/>
          </p:nvSpPr>
          <p:spPr>
            <a:xfrm>
              <a:off x="8134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447E5DFE-988C-EA7B-8ECC-0C2D6E78E26E}"/>
                </a:ext>
              </a:extLst>
            </p:cNvPr>
            <p:cNvSpPr/>
            <p:nvPr/>
          </p:nvSpPr>
          <p:spPr>
            <a:xfrm>
              <a:off x="8134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5" name="Freeform 1294">
              <a:extLst>
                <a:ext uri="{FF2B5EF4-FFF2-40B4-BE49-F238E27FC236}">
                  <a16:creationId xmlns:a16="http://schemas.microsoft.com/office/drawing/2014/main" id="{FD901510-67EE-30AE-2C1A-05674A860352}"/>
                </a:ext>
              </a:extLst>
            </p:cNvPr>
            <p:cNvSpPr/>
            <p:nvPr/>
          </p:nvSpPr>
          <p:spPr>
            <a:xfrm>
              <a:off x="8134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FD725030-1E29-4671-E352-204BA8415FEE}"/>
                </a:ext>
              </a:extLst>
            </p:cNvPr>
            <p:cNvSpPr/>
            <p:nvPr/>
          </p:nvSpPr>
          <p:spPr>
            <a:xfrm>
              <a:off x="81343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EEEFAE17-F2AA-BBF7-94FE-D285C608758A}"/>
                </a:ext>
              </a:extLst>
            </p:cNvPr>
            <p:cNvSpPr/>
            <p:nvPr/>
          </p:nvSpPr>
          <p:spPr>
            <a:xfrm>
              <a:off x="81343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8" name="Freeform 1297">
              <a:extLst>
                <a:ext uri="{FF2B5EF4-FFF2-40B4-BE49-F238E27FC236}">
                  <a16:creationId xmlns:a16="http://schemas.microsoft.com/office/drawing/2014/main" id="{D7B964D9-BFEB-676B-912F-E97A619D1E77}"/>
                </a:ext>
              </a:extLst>
            </p:cNvPr>
            <p:cNvSpPr/>
            <p:nvPr/>
          </p:nvSpPr>
          <p:spPr>
            <a:xfrm>
              <a:off x="81343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9" name="Freeform 1298">
              <a:extLst>
                <a:ext uri="{FF2B5EF4-FFF2-40B4-BE49-F238E27FC236}">
                  <a16:creationId xmlns:a16="http://schemas.microsoft.com/office/drawing/2014/main" id="{8D1EE707-2A53-5253-76EB-844EA90C8623}"/>
                </a:ext>
              </a:extLst>
            </p:cNvPr>
            <p:cNvSpPr/>
            <p:nvPr/>
          </p:nvSpPr>
          <p:spPr>
            <a:xfrm>
              <a:off x="3943350" y="1276350"/>
              <a:ext cx="733425" cy="733425"/>
            </a:xfrm>
            <a:custGeom>
              <a:avLst/>
              <a:gdLst>
                <a:gd name="connsiteX0" fmla="*/ 261938 w 733425"/>
                <a:gd name="connsiteY0" fmla="*/ 733425 h 733425"/>
                <a:gd name="connsiteX1" fmla="*/ 471488 w 733425"/>
                <a:gd name="connsiteY1" fmla="*/ 733425 h 733425"/>
                <a:gd name="connsiteX2" fmla="*/ 733425 w 733425"/>
                <a:gd name="connsiteY2" fmla="*/ 471488 h 733425"/>
                <a:gd name="connsiteX3" fmla="*/ 733425 w 733425"/>
                <a:gd name="connsiteY3" fmla="*/ 261938 h 733425"/>
                <a:gd name="connsiteX4" fmla="*/ 471488 w 733425"/>
                <a:gd name="connsiteY4" fmla="*/ 0 h 733425"/>
                <a:gd name="connsiteX5" fmla="*/ 261938 w 733425"/>
                <a:gd name="connsiteY5" fmla="*/ 0 h 733425"/>
                <a:gd name="connsiteX6" fmla="*/ 0 w 733425"/>
                <a:gd name="connsiteY6" fmla="*/ 261938 h 733425"/>
                <a:gd name="connsiteX7" fmla="*/ 0 w 733425"/>
                <a:gd name="connsiteY7" fmla="*/ 471488 h 733425"/>
                <a:gd name="connsiteX8" fmla="*/ 261938 w 733425"/>
                <a:gd name="connsiteY8" fmla="*/ 733425 h 733425"/>
                <a:gd name="connsiteX9" fmla="*/ 104775 w 733425"/>
                <a:gd name="connsiteY9" fmla="*/ 261938 h 733425"/>
                <a:gd name="connsiteX10" fmla="*/ 261938 w 733425"/>
                <a:gd name="connsiteY10" fmla="*/ 104775 h 733425"/>
                <a:gd name="connsiteX11" fmla="*/ 471488 w 733425"/>
                <a:gd name="connsiteY11" fmla="*/ 104775 h 733425"/>
                <a:gd name="connsiteX12" fmla="*/ 628650 w 733425"/>
                <a:gd name="connsiteY12" fmla="*/ 261938 h 733425"/>
                <a:gd name="connsiteX13" fmla="*/ 628650 w 733425"/>
                <a:gd name="connsiteY13" fmla="*/ 471488 h 733425"/>
                <a:gd name="connsiteX14" fmla="*/ 471488 w 733425"/>
                <a:gd name="connsiteY14" fmla="*/ 628650 h 733425"/>
                <a:gd name="connsiteX15" fmla="*/ 261938 w 733425"/>
                <a:gd name="connsiteY15" fmla="*/ 628650 h 733425"/>
                <a:gd name="connsiteX16" fmla="*/ 104775 w 733425"/>
                <a:gd name="connsiteY16" fmla="*/ 471488 h 733425"/>
                <a:gd name="connsiteX17" fmla="*/ 104775 w 733425"/>
                <a:gd name="connsiteY17" fmla="*/ 26193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261938" y="733425"/>
                  </a:moveTo>
                  <a:lnTo>
                    <a:pt x="471488" y="733425"/>
                  </a:lnTo>
                  <a:cubicBezTo>
                    <a:pt x="616268" y="733425"/>
                    <a:pt x="733425" y="616268"/>
                    <a:pt x="733425" y="471488"/>
                  </a:cubicBezTo>
                  <a:lnTo>
                    <a:pt x="733425" y="261938"/>
                  </a:lnTo>
                  <a:cubicBezTo>
                    <a:pt x="733425" y="117157"/>
                    <a:pt x="616268" y="0"/>
                    <a:pt x="471488" y="0"/>
                  </a:cubicBezTo>
                  <a:lnTo>
                    <a:pt x="261938" y="0"/>
                  </a:lnTo>
                  <a:cubicBezTo>
                    <a:pt x="117157" y="0"/>
                    <a:pt x="0" y="117157"/>
                    <a:pt x="0" y="261938"/>
                  </a:cubicBezTo>
                  <a:lnTo>
                    <a:pt x="0" y="471488"/>
                  </a:lnTo>
                  <a:cubicBezTo>
                    <a:pt x="0" y="616268"/>
                    <a:pt x="117157" y="733425"/>
                    <a:pt x="261938" y="733425"/>
                  </a:cubicBezTo>
                  <a:close/>
                  <a:moveTo>
                    <a:pt x="104775" y="261938"/>
                  </a:moveTo>
                  <a:cubicBezTo>
                    <a:pt x="104775" y="175260"/>
                    <a:pt x="175260" y="104775"/>
                    <a:pt x="261938" y="104775"/>
                  </a:cubicBezTo>
                  <a:lnTo>
                    <a:pt x="471488" y="104775"/>
                  </a:lnTo>
                  <a:cubicBezTo>
                    <a:pt x="558165" y="104775"/>
                    <a:pt x="628650" y="175260"/>
                    <a:pt x="628650" y="261938"/>
                  </a:cubicBezTo>
                  <a:lnTo>
                    <a:pt x="628650" y="471488"/>
                  </a:lnTo>
                  <a:cubicBezTo>
                    <a:pt x="628650" y="558165"/>
                    <a:pt x="558165" y="628650"/>
                    <a:pt x="471488" y="628650"/>
                  </a:cubicBezTo>
                  <a:lnTo>
                    <a:pt x="261938" y="628650"/>
                  </a:lnTo>
                  <a:cubicBezTo>
                    <a:pt x="175260" y="628650"/>
                    <a:pt x="104775" y="558165"/>
                    <a:pt x="104775" y="471488"/>
                  </a:cubicBezTo>
                  <a:lnTo>
                    <a:pt x="104775" y="261938"/>
                  </a:lnTo>
                  <a:close/>
                </a:path>
              </a:pathLst>
            </a:custGeom>
            <a:solidFill>
              <a:srgbClr val="FFFFFF"/>
            </a:solidFill>
            <a:ln w="9525" cap="flat">
              <a:noFill/>
              <a:prstDash val="solid"/>
              <a:miter/>
            </a:ln>
          </p:spPr>
          <p:txBody>
            <a:bodyPr rtlCol="0" anchor="ctr"/>
            <a:lstStyle/>
            <a:p>
              <a:endParaRPr lang="en-US"/>
            </a:p>
          </p:txBody>
        </p:sp>
        <p:sp>
          <p:nvSpPr>
            <p:cNvPr id="1300" name="Freeform 1299">
              <a:extLst>
                <a:ext uri="{FF2B5EF4-FFF2-40B4-BE49-F238E27FC236}">
                  <a16:creationId xmlns:a16="http://schemas.microsoft.com/office/drawing/2014/main" id="{1828E2F1-42F6-48DB-6764-3A04813EFD05}"/>
                </a:ext>
              </a:extLst>
            </p:cNvPr>
            <p:cNvSpPr/>
            <p:nvPr/>
          </p:nvSpPr>
          <p:spPr>
            <a:xfrm>
              <a:off x="415290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1" name="Freeform 1300">
              <a:extLst>
                <a:ext uri="{FF2B5EF4-FFF2-40B4-BE49-F238E27FC236}">
                  <a16:creationId xmlns:a16="http://schemas.microsoft.com/office/drawing/2014/main" id="{EF1DE939-7ECE-B488-2BB8-6F5F4A9CFC84}"/>
                </a:ext>
              </a:extLst>
            </p:cNvPr>
            <p:cNvSpPr/>
            <p:nvPr/>
          </p:nvSpPr>
          <p:spPr>
            <a:xfrm>
              <a:off x="7505700" y="127635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2" name="Freeform 1301">
              <a:extLst>
                <a:ext uri="{FF2B5EF4-FFF2-40B4-BE49-F238E27FC236}">
                  <a16:creationId xmlns:a16="http://schemas.microsoft.com/office/drawing/2014/main" id="{4881D58A-ED73-9727-A48D-76E19E1CF2E4}"/>
                </a:ext>
              </a:extLst>
            </p:cNvPr>
            <p:cNvSpPr/>
            <p:nvPr/>
          </p:nvSpPr>
          <p:spPr>
            <a:xfrm>
              <a:off x="771525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12447569-D809-9E04-63A2-DBE7B111F832}"/>
                </a:ext>
              </a:extLst>
            </p:cNvPr>
            <p:cNvSpPr/>
            <p:nvPr/>
          </p:nvSpPr>
          <p:spPr>
            <a:xfrm>
              <a:off x="3943350" y="483870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21B698A-DEE8-BCCE-FB18-BB844F1A913F}"/>
                </a:ext>
              </a:extLst>
            </p:cNvPr>
            <p:cNvSpPr/>
            <p:nvPr/>
          </p:nvSpPr>
          <p:spPr>
            <a:xfrm>
              <a:off x="4152900" y="504825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11F885F6-C7C2-17FA-0D24-D978B3CB8AB1}"/>
                </a:ext>
              </a:extLst>
            </p:cNvPr>
            <p:cNvSpPr/>
            <p:nvPr/>
          </p:nvSpPr>
          <p:spPr>
            <a:xfrm>
              <a:off x="5676900" y="3197542"/>
              <a:ext cx="428625" cy="559117"/>
            </a:xfrm>
            <a:custGeom>
              <a:avLst/>
              <a:gdLst>
                <a:gd name="connsiteX0" fmla="*/ 427672 w 428625"/>
                <a:gd name="connsiteY0" fmla="*/ 497205 h 559117"/>
                <a:gd name="connsiteX1" fmla="*/ 391478 w 428625"/>
                <a:gd name="connsiteY1" fmla="*/ 432435 h 559117"/>
                <a:gd name="connsiteX2" fmla="*/ 129540 w 428625"/>
                <a:gd name="connsiteY2" fmla="*/ 432435 h 559117"/>
                <a:gd name="connsiteX3" fmla="*/ 129540 w 428625"/>
                <a:gd name="connsiteY3" fmla="*/ 321945 h 559117"/>
                <a:gd name="connsiteX4" fmla="*/ 398145 w 428625"/>
                <a:gd name="connsiteY4" fmla="*/ 321945 h 559117"/>
                <a:gd name="connsiteX5" fmla="*/ 398145 w 428625"/>
                <a:gd name="connsiteY5" fmla="*/ 207645 h 559117"/>
                <a:gd name="connsiteX6" fmla="*/ 129540 w 428625"/>
                <a:gd name="connsiteY6" fmla="*/ 207645 h 559117"/>
                <a:gd name="connsiteX7" fmla="*/ 129540 w 428625"/>
                <a:gd name="connsiteY7" fmla="*/ 119063 h 559117"/>
                <a:gd name="connsiteX8" fmla="*/ 405765 w 428625"/>
                <a:gd name="connsiteY8" fmla="*/ 119063 h 559117"/>
                <a:gd name="connsiteX9" fmla="*/ 420053 w 428625"/>
                <a:gd name="connsiteY9" fmla="*/ 83820 h 559117"/>
                <a:gd name="connsiteX10" fmla="*/ 420053 w 428625"/>
                <a:gd name="connsiteY10" fmla="*/ 0 h 559117"/>
                <a:gd name="connsiteX11" fmla="*/ 0 w 428625"/>
                <a:gd name="connsiteY11" fmla="*/ 0 h 559117"/>
                <a:gd name="connsiteX12" fmla="*/ 0 w 428625"/>
                <a:gd name="connsiteY12" fmla="*/ 559118 h 559117"/>
                <a:gd name="connsiteX13" fmla="*/ 428625 w 428625"/>
                <a:gd name="connsiteY13" fmla="*/ 559118 h 559117"/>
                <a:gd name="connsiteX14" fmla="*/ 428625 w 428625"/>
                <a:gd name="connsiteY14" fmla="*/ 497205 h 55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559117">
                  <a:moveTo>
                    <a:pt x="427672" y="497205"/>
                  </a:moveTo>
                  <a:cubicBezTo>
                    <a:pt x="411480" y="478155"/>
                    <a:pt x="400050" y="456248"/>
                    <a:pt x="391478" y="432435"/>
                  </a:cubicBezTo>
                  <a:lnTo>
                    <a:pt x="129540" y="432435"/>
                  </a:lnTo>
                  <a:lnTo>
                    <a:pt x="129540" y="321945"/>
                  </a:lnTo>
                  <a:lnTo>
                    <a:pt x="398145" y="321945"/>
                  </a:lnTo>
                  <a:lnTo>
                    <a:pt x="398145" y="207645"/>
                  </a:lnTo>
                  <a:lnTo>
                    <a:pt x="129540" y="207645"/>
                  </a:lnTo>
                  <a:lnTo>
                    <a:pt x="129540" y="119063"/>
                  </a:lnTo>
                  <a:lnTo>
                    <a:pt x="405765" y="119063"/>
                  </a:lnTo>
                  <a:cubicBezTo>
                    <a:pt x="408622" y="106680"/>
                    <a:pt x="413385" y="95250"/>
                    <a:pt x="420053" y="83820"/>
                  </a:cubicBezTo>
                  <a:lnTo>
                    <a:pt x="420053" y="0"/>
                  </a:lnTo>
                  <a:lnTo>
                    <a:pt x="0" y="0"/>
                  </a:lnTo>
                  <a:lnTo>
                    <a:pt x="0" y="559118"/>
                  </a:lnTo>
                  <a:lnTo>
                    <a:pt x="428625" y="559118"/>
                  </a:lnTo>
                  <a:lnTo>
                    <a:pt x="428625" y="497205"/>
                  </a:lnTo>
                  <a:close/>
                </a:path>
              </a:pathLst>
            </a:custGeom>
            <a:solidFill>
              <a:srgbClr val="FFFFFF"/>
            </a:solidFill>
            <a:ln w="9525"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ADF89D3C-41F5-A242-CBB1-77BDAF6B8D64}"/>
                </a:ext>
              </a:extLst>
            </p:cNvPr>
            <p:cNvSpPr/>
            <p:nvPr/>
          </p:nvSpPr>
          <p:spPr>
            <a:xfrm>
              <a:off x="6617969" y="3185159"/>
              <a:ext cx="543877" cy="578167"/>
            </a:xfrm>
            <a:custGeom>
              <a:avLst/>
              <a:gdLst>
                <a:gd name="connsiteX0" fmla="*/ 496253 w 543877"/>
                <a:gd name="connsiteY0" fmla="*/ 494347 h 578167"/>
                <a:gd name="connsiteX1" fmla="*/ 543878 w 543877"/>
                <a:gd name="connsiteY1" fmla="*/ 387668 h 578167"/>
                <a:gd name="connsiteX2" fmla="*/ 392430 w 543877"/>
                <a:gd name="connsiteY2" fmla="*/ 341947 h 578167"/>
                <a:gd name="connsiteX3" fmla="*/ 355283 w 543877"/>
                <a:gd name="connsiteY3" fmla="*/ 422910 h 578167"/>
                <a:gd name="connsiteX4" fmla="*/ 280035 w 543877"/>
                <a:gd name="connsiteY4" fmla="*/ 450533 h 578167"/>
                <a:gd name="connsiteX5" fmla="*/ 200978 w 543877"/>
                <a:gd name="connsiteY5" fmla="*/ 416243 h 578167"/>
                <a:gd name="connsiteX6" fmla="*/ 172403 w 543877"/>
                <a:gd name="connsiteY6" fmla="*/ 288608 h 578167"/>
                <a:gd name="connsiteX7" fmla="*/ 196215 w 543877"/>
                <a:gd name="connsiteY7" fmla="*/ 178118 h 578167"/>
                <a:gd name="connsiteX8" fmla="*/ 285750 w 543877"/>
                <a:gd name="connsiteY8" fmla="*/ 130493 h 578167"/>
                <a:gd name="connsiteX9" fmla="*/ 332423 w 543877"/>
                <a:gd name="connsiteY9" fmla="*/ 140970 h 578167"/>
                <a:gd name="connsiteX10" fmla="*/ 367665 w 543877"/>
                <a:gd name="connsiteY10" fmla="*/ 171450 h 578167"/>
                <a:gd name="connsiteX11" fmla="*/ 384810 w 543877"/>
                <a:gd name="connsiteY11" fmla="*/ 208598 h 578167"/>
                <a:gd name="connsiteX12" fmla="*/ 537210 w 543877"/>
                <a:gd name="connsiteY12" fmla="*/ 174308 h 578167"/>
                <a:gd name="connsiteX13" fmla="*/ 447675 w 543877"/>
                <a:gd name="connsiteY13" fmla="*/ 42863 h 578167"/>
                <a:gd name="connsiteX14" fmla="*/ 281940 w 543877"/>
                <a:gd name="connsiteY14" fmla="*/ 0 h 578167"/>
                <a:gd name="connsiteX15" fmla="*/ 73343 w 543877"/>
                <a:gd name="connsiteY15" fmla="*/ 74295 h 578167"/>
                <a:gd name="connsiteX16" fmla="*/ 0 w 543877"/>
                <a:gd name="connsiteY16" fmla="*/ 287655 h 578167"/>
                <a:gd name="connsiteX17" fmla="*/ 41910 w 543877"/>
                <a:gd name="connsiteY17" fmla="*/ 458153 h 578167"/>
                <a:gd name="connsiteX18" fmla="*/ 141923 w 543877"/>
                <a:gd name="connsiteY18" fmla="*/ 551497 h 578167"/>
                <a:gd name="connsiteX19" fmla="*/ 290513 w 543877"/>
                <a:gd name="connsiteY19" fmla="*/ 578168 h 578167"/>
                <a:gd name="connsiteX20" fmla="*/ 414338 w 543877"/>
                <a:gd name="connsiteY20" fmla="*/ 556260 h 578167"/>
                <a:gd name="connsiteX21" fmla="*/ 496253 w 543877"/>
                <a:gd name="connsiteY21" fmla="*/ 49434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3877" h="578167">
                  <a:moveTo>
                    <a:pt x="496253" y="494347"/>
                  </a:moveTo>
                  <a:cubicBezTo>
                    <a:pt x="518160" y="465772"/>
                    <a:pt x="534353" y="430530"/>
                    <a:pt x="543878" y="387668"/>
                  </a:cubicBezTo>
                  <a:lnTo>
                    <a:pt x="392430" y="341947"/>
                  </a:lnTo>
                  <a:cubicBezTo>
                    <a:pt x="384810" y="377190"/>
                    <a:pt x="372428" y="403860"/>
                    <a:pt x="355283" y="422910"/>
                  </a:cubicBezTo>
                  <a:cubicBezTo>
                    <a:pt x="338138" y="441008"/>
                    <a:pt x="313373" y="450533"/>
                    <a:pt x="280035" y="450533"/>
                  </a:cubicBezTo>
                  <a:cubicBezTo>
                    <a:pt x="245745" y="450533"/>
                    <a:pt x="219075" y="439103"/>
                    <a:pt x="200978" y="416243"/>
                  </a:cubicBezTo>
                  <a:cubicBezTo>
                    <a:pt x="181928" y="393383"/>
                    <a:pt x="172403" y="350520"/>
                    <a:pt x="172403" y="288608"/>
                  </a:cubicBezTo>
                  <a:cubicBezTo>
                    <a:pt x="172403" y="238125"/>
                    <a:pt x="180023" y="201930"/>
                    <a:pt x="196215" y="178118"/>
                  </a:cubicBezTo>
                  <a:cubicBezTo>
                    <a:pt x="217170" y="146685"/>
                    <a:pt x="246698" y="130493"/>
                    <a:pt x="285750" y="130493"/>
                  </a:cubicBezTo>
                  <a:cubicBezTo>
                    <a:pt x="302895" y="130493"/>
                    <a:pt x="319088" y="134303"/>
                    <a:pt x="332423" y="140970"/>
                  </a:cubicBezTo>
                  <a:cubicBezTo>
                    <a:pt x="346710" y="147638"/>
                    <a:pt x="358140" y="158115"/>
                    <a:pt x="367665" y="171450"/>
                  </a:cubicBezTo>
                  <a:cubicBezTo>
                    <a:pt x="373380" y="179070"/>
                    <a:pt x="379095" y="191453"/>
                    <a:pt x="384810" y="208598"/>
                  </a:cubicBezTo>
                  <a:lnTo>
                    <a:pt x="537210" y="174308"/>
                  </a:lnTo>
                  <a:cubicBezTo>
                    <a:pt x="517208" y="115253"/>
                    <a:pt x="487680" y="71438"/>
                    <a:pt x="447675" y="42863"/>
                  </a:cubicBezTo>
                  <a:cubicBezTo>
                    <a:pt x="407670" y="14288"/>
                    <a:pt x="352425" y="0"/>
                    <a:pt x="281940" y="0"/>
                  </a:cubicBezTo>
                  <a:cubicBezTo>
                    <a:pt x="192405" y="0"/>
                    <a:pt x="121920" y="24765"/>
                    <a:pt x="73343" y="74295"/>
                  </a:cubicBezTo>
                  <a:cubicBezTo>
                    <a:pt x="24765" y="123825"/>
                    <a:pt x="0" y="195263"/>
                    <a:pt x="0" y="287655"/>
                  </a:cubicBezTo>
                  <a:cubicBezTo>
                    <a:pt x="0" y="357188"/>
                    <a:pt x="14288" y="414338"/>
                    <a:pt x="41910" y="458153"/>
                  </a:cubicBezTo>
                  <a:cubicBezTo>
                    <a:pt x="69533" y="502920"/>
                    <a:pt x="102870" y="533400"/>
                    <a:pt x="141923" y="551497"/>
                  </a:cubicBezTo>
                  <a:cubicBezTo>
                    <a:pt x="180023" y="569595"/>
                    <a:pt x="230505" y="578168"/>
                    <a:pt x="290513" y="578168"/>
                  </a:cubicBezTo>
                  <a:cubicBezTo>
                    <a:pt x="340995" y="578168"/>
                    <a:pt x="381953" y="570547"/>
                    <a:pt x="414338" y="556260"/>
                  </a:cubicBezTo>
                  <a:cubicBezTo>
                    <a:pt x="446723" y="541972"/>
                    <a:pt x="474345" y="522922"/>
                    <a:pt x="496253" y="494347"/>
                  </a:cubicBezTo>
                  <a:close/>
                </a:path>
              </a:pathLst>
            </a:custGeom>
            <a:solidFill>
              <a:srgbClr val="FFFFFF"/>
            </a:solidFill>
            <a:ln w="9525"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AF99FBA5-05BF-1684-068F-CE8F7373C367}"/>
                </a:ext>
              </a:extLst>
            </p:cNvPr>
            <p:cNvSpPr/>
            <p:nvPr/>
          </p:nvSpPr>
          <p:spPr>
            <a:xfrm>
              <a:off x="6082665" y="3187065"/>
              <a:ext cx="506729" cy="578167"/>
            </a:xfrm>
            <a:custGeom>
              <a:avLst/>
              <a:gdLst>
                <a:gd name="connsiteX0" fmla="*/ 260032 w 506729"/>
                <a:gd name="connsiteY0" fmla="*/ 578167 h 578167"/>
                <a:gd name="connsiteX1" fmla="*/ 394335 w 506729"/>
                <a:gd name="connsiteY1" fmla="*/ 554355 h 578167"/>
                <a:gd name="connsiteX2" fmla="*/ 477203 w 506729"/>
                <a:gd name="connsiteY2" fmla="*/ 485775 h 578167"/>
                <a:gd name="connsiteX3" fmla="*/ 506730 w 506729"/>
                <a:gd name="connsiteY3" fmla="*/ 386715 h 578167"/>
                <a:gd name="connsiteX4" fmla="*/ 484822 w 506729"/>
                <a:gd name="connsiteY4" fmla="*/ 303847 h 578167"/>
                <a:gd name="connsiteX5" fmla="*/ 413385 w 506729"/>
                <a:gd name="connsiteY5" fmla="*/ 241935 h 578167"/>
                <a:gd name="connsiteX6" fmla="*/ 251460 w 506729"/>
                <a:gd name="connsiteY6" fmla="*/ 192405 h 578167"/>
                <a:gd name="connsiteX7" fmla="*/ 193357 w 506729"/>
                <a:gd name="connsiteY7" fmla="*/ 171450 h 578167"/>
                <a:gd name="connsiteX8" fmla="*/ 180975 w 506729"/>
                <a:gd name="connsiteY8" fmla="*/ 147638 h 578167"/>
                <a:gd name="connsiteX9" fmla="*/ 196215 w 506729"/>
                <a:gd name="connsiteY9" fmla="*/ 116205 h 578167"/>
                <a:gd name="connsiteX10" fmla="*/ 241935 w 506729"/>
                <a:gd name="connsiteY10" fmla="*/ 103822 h 578167"/>
                <a:gd name="connsiteX11" fmla="*/ 299085 w 506729"/>
                <a:gd name="connsiteY11" fmla="*/ 120967 h 578167"/>
                <a:gd name="connsiteX12" fmla="*/ 326707 w 506729"/>
                <a:gd name="connsiteY12" fmla="*/ 176213 h 578167"/>
                <a:gd name="connsiteX13" fmla="*/ 489585 w 506729"/>
                <a:gd name="connsiteY13" fmla="*/ 166688 h 578167"/>
                <a:gd name="connsiteX14" fmla="*/ 422910 w 506729"/>
                <a:gd name="connsiteY14" fmla="*/ 40005 h 578167"/>
                <a:gd name="connsiteX15" fmla="*/ 259080 w 506729"/>
                <a:gd name="connsiteY15" fmla="*/ 0 h 578167"/>
                <a:gd name="connsiteX16" fmla="*/ 121920 w 506729"/>
                <a:gd name="connsiteY16" fmla="*/ 21907 h 578167"/>
                <a:gd name="connsiteX17" fmla="*/ 46672 w 506729"/>
                <a:gd name="connsiteY17" fmla="*/ 81915 h 578167"/>
                <a:gd name="connsiteX18" fmla="*/ 21907 w 506729"/>
                <a:gd name="connsiteY18" fmla="*/ 162877 h 578167"/>
                <a:gd name="connsiteX19" fmla="*/ 70485 w 506729"/>
                <a:gd name="connsiteY19" fmla="*/ 270510 h 578167"/>
                <a:gd name="connsiteX20" fmla="*/ 232410 w 506729"/>
                <a:gd name="connsiteY20" fmla="*/ 338138 h 578167"/>
                <a:gd name="connsiteX21" fmla="*/ 320992 w 506729"/>
                <a:gd name="connsiteY21" fmla="*/ 370522 h 578167"/>
                <a:gd name="connsiteX22" fmla="*/ 340042 w 506729"/>
                <a:gd name="connsiteY22" fmla="*/ 409575 h 578167"/>
                <a:gd name="connsiteX23" fmla="*/ 320040 w 506729"/>
                <a:gd name="connsiteY23" fmla="*/ 449580 h 578167"/>
                <a:gd name="connsiteX24" fmla="*/ 262890 w 506729"/>
                <a:gd name="connsiteY24" fmla="*/ 466725 h 578167"/>
                <a:gd name="connsiteX25" fmla="*/ 186690 w 506729"/>
                <a:gd name="connsiteY25" fmla="*/ 432435 h 578167"/>
                <a:gd name="connsiteX26" fmla="*/ 164782 w 506729"/>
                <a:gd name="connsiteY26" fmla="*/ 371475 h 578167"/>
                <a:gd name="connsiteX27" fmla="*/ 0 w 506729"/>
                <a:gd name="connsiteY27" fmla="*/ 381953 h 578167"/>
                <a:gd name="connsiteX28" fmla="*/ 61913 w 506729"/>
                <a:gd name="connsiteY28" fmla="*/ 521970 h 578167"/>
                <a:gd name="connsiteX29" fmla="*/ 260032 w 506729"/>
                <a:gd name="connsiteY29" fmla="*/ 57816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6729" h="578167">
                  <a:moveTo>
                    <a:pt x="260032" y="578167"/>
                  </a:moveTo>
                  <a:cubicBezTo>
                    <a:pt x="314325" y="578167"/>
                    <a:pt x="359092" y="570547"/>
                    <a:pt x="394335" y="554355"/>
                  </a:cubicBezTo>
                  <a:cubicBezTo>
                    <a:pt x="429578" y="539115"/>
                    <a:pt x="457200" y="516255"/>
                    <a:pt x="477203" y="485775"/>
                  </a:cubicBezTo>
                  <a:cubicBezTo>
                    <a:pt x="497205" y="455295"/>
                    <a:pt x="506730" y="422910"/>
                    <a:pt x="506730" y="386715"/>
                  </a:cubicBezTo>
                  <a:cubicBezTo>
                    <a:pt x="506730" y="356235"/>
                    <a:pt x="499110" y="328613"/>
                    <a:pt x="484822" y="303847"/>
                  </a:cubicBezTo>
                  <a:cubicBezTo>
                    <a:pt x="469582" y="279082"/>
                    <a:pt x="445770" y="258127"/>
                    <a:pt x="413385" y="241935"/>
                  </a:cubicBezTo>
                  <a:cubicBezTo>
                    <a:pt x="381000" y="225742"/>
                    <a:pt x="326707" y="208597"/>
                    <a:pt x="251460" y="192405"/>
                  </a:cubicBezTo>
                  <a:cubicBezTo>
                    <a:pt x="220980" y="185738"/>
                    <a:pt x="201930" y="179070"/>
                    <a:pt x="193357" y="171450"/>
                  </a:cubicBezTo>
                  <a:cubicBezTo>
                    <a:pt x="184785" y="164782"/>
                    <a:pt x="180975" y="156210"/>
                    <a:pt x="180975" y="147638"/>
                  </a:cubicBezTo>
                  <a:cubicBezTo>
                    <a:pt x="180975" y="135255"/>
                    <a:pt x="185738" y="124777"/>
                    <a:pt x="196215" y="116205"/>
                  </a:cubicBezTo>
                  <a:cubicBezTo>
                    <a:pt x="206692" y="107632"/>
                    <a:pt x="221932" y="103822"/>
                    <a:pt x="241935" y="103822"/>
                  </a:cubicBezTo>
                  <a:cubicBezTo>
                    <a:pt x="266700" y="103822"/>
                    <a:pt x="285750" y="109538"/>
                    <a:pt x="299085" y="120967"/>
                  </a:cubicBezTo>
                  <a:cubicBezTo>
                    <a:pt x="313372" y="132397"/>
                    <a:pt x="321945" y="150495"/>
                    <a:pt x="326707" y="176213"/>
                  </a:cubicBezTo>
                  <a:lnTo>
                    <a:pt x="489585" y="166688"/>
                  </a:lnTo>
                  <a:cubicBezTo>
                    <a:pt x="482917" y="108585"/>
                    <a:pt x="460057" y="66675"/>
                    <a:pt x="422910" y="40005"/>
                  </a:cubicBezTo>
                  <a:cubicBezTo>
                    <a:pt x="385763" y="13335"/>
                    <a:pt x="330517" y="0"/>
                    <a:pt x="259080" y="0"/>
                  </a:cubicBezTo>
                  <a:cubicBezTo>
                    <a:pt x="200978" y="0"/>
                    <a:pt x="155257" y="7620"/>
                    <a:pt x="121920" y="21907"/>
                  </a:cubicBezTo>
                  <a:cubicBezTo>
                    <a:pt x="88582" y="36195"/>
                    <a:pt x="63817" y="56197"/>
                    <a:pt x="46672" y="81915"/>
                  </a:cubicBezTo>
                  <a:cubicBezTo>
                    <a:pt x="30480" y="107632"/>
                    <a:pt x="21907" y="134302"/>
                    <a:pt x="21907" y="162877"/>
                  </a:cubicBezTo>
                  <a:cubicBezTo>
                    <a:pt x="21907" y="206692"/>
                    <a:pt x="38100" y="242888"/>
                    <a:pt x="70485" y="270510"/>
                  </a:cubicBezTo>
                  <a:cubicBezTo>
                    <a:pt x="102870" y="299085"/>
                    <a:pt x="157163" y="320992"/>
                    <a:pt x="232410" y="338138"/>
                  </a:cubicBezTo>
                  <a:cubicBezTo>
                    <a:pt x="279082" y="348615"/>
                    <a:pt x="308610" y="359092"/>
                    <a:pt x="320992" y="370522"/>
                  </a:cubicBezTo>
                  <a:cubicBezTo>
                    <a:pt x="333375" y="381953"/>
                    <a:pt x="340042" y="395288"/>
                    <a:pt x="340042" y="409575"/>
                  </a:cubicBezTo>
                  <a:cubicBezTo>
                    <a:pt x="340042" y="424815"/>
                    <a:pt x="333375" y="438150"/>
                    <a:pt x="320040" y="449580"/>
                  </a:cubicBezTo>
                  <a:cubicBezTo>
                    <a:pt x="306705" y="461010"/>
                    <a:pt x="287655" y="466725"/>
                    <a:pt x="262890" y="466725"/>
                  </a:cubicBezTo>
                  <a:cubicBezTo>
                    <a:pt x="229553" y="466725"/>
                    <a:pt x="204788" y="455295"/>
                    <a:pt x="186690" y="432435"/>
                  </a:cubicBezTo>
                  <a:cubicBezTo>
                    <a:pt x="176213" y="418147"/>
                    <a:pt x="168592" y="398145"/>
                    <a:pt x="164782" y="371475"/>
                  </a:cubicBezTo>
                  <a:lnTo>
                    <a:pt x="0" y="381953"/>
                  </a:lnTo>
                  <a:cubicBezTo>
                    <a:pt x="4763" y="438150"/>
                    <a:pt x="25717" y="484822"/>
                    <a:pt x="61913" y="521970"/>
                  </a:cubicBezTo>
                  <a:cubicBezTo>
                    <a:pt x="99060" y="560070"/>
                    <a:pt x="164782" y="578167"/>
                    <a:pt x="260032" y="578167"/>
                  </a:cubicBezTo>
                  <a:close/>
                </a:path>
              </a:pathLst>
            </a:custGeom>
            <a:solidFill>
              <a:srgbClr val="FFFFFF"/>
            </a:solidFill>
            <a:ln w="9525"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3930AA24-6ABE-F438-ADC1-F090CA0244DE}"/>
                </a:ext>
              </a:extLst>
            </p:cNvPr>
            <p:cNvSpPr/>
            <p:nvPr/>
          </p:nvSpPr>
          <p:spPr>
            <a:xfrm>
              <a:off x="5030152" y="3197542"/>
              <a:ext cx="628650" cy="558164"/>
            </a:xfrm>
            <a:custGeom>
              <a:avLst/>
              <a:gdLst>
                <a:gd name="connsiteX0" fmla="*/ 628650 w 628650"/>
                <a:gd name="connsiteY0" fmla="*/ 0 h 558164"/>
                <a:gd name="connsiteX1" fmla="*/ 401955 w 628650"/>
                <a:gd name="connsiteY1" fmla="*/ 0 h 558164"/>
                <a:gd name="connsiteX2" fmla="*/ 314325 w 628650"/>
                <a:gd name="connsiteY2" fmla="*/ 340042 h 558164"/>
                <a:gd name="connsiteX3" fmla="*/ 226695 w 628650"/>
                <a:gd name="connsiteY3" fmla="*/ 0 h 558164"/>
                <a:gd name="connsiteX4" fmla="*/ 0 w 628650"/>
                <a:gd name="connsiteY4" fmla="*/ 0 h 558164"/>
                <a:gd name="connsiteX5" fmla="*/ 0 w 628650"/>
                <a:gd name="connsiteY5" fmla="*/ 558165 h 558164"/>
                <a:gd name="connsiteX6" fmla="*/ 140970 w 628650"/>
                <a:gd name="connsiteY6" fmla="*/ 558165 h 558164"/>
                <a:gd name="connsiteX7" fmla="*/ 140970 w 628650"/>
                <a:gd name="connsiteY7" fmla="*/ 132398 h 558164"/>
                <a:gd name="connsiteX8" fmla="*/ 250507 w 628650"/>
                <a:gd name="connsiteY8" fmla="*/ 558165 h 558164"/>
                <a:gd name="connsiteX9" fmla="*/ 378142 w 628650"/>
                <a:gd name="connsiteY9" fmla="*/ 558165 h 558164"/>
                <a:gd name="connsiteX10" fmla="*/ 487680 w 628650"/>
                <a:gd name="connsiteY10" fmla="*/ 132398 h 558164"/>
                <a:gd name="connsiteX11" fmla="*/ 487680 w 628650"/>
                <a:gd name="connsiteY11" fmla="*/ 558165 h 558164"/>
                <a:gd name="connsiteX12" fmla="*/ 628650 w 628650"/>
                <a:gd name="connsiteY12" fmla="*/ 558165 h 55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8650" h="558164">
                  <a:moveTo>
                    <a:pt x="628650" y="0"/>
                  </a:moveTo>
                  <a:lnTo>
                    <a:pt x="401955" y="0"/>
                  </a:lnTo>
                  <a:lnTo>
                    <a:pt x="314325" y="340042"/>
                  </a:lnTo>
                  <a:lnTo>
                    <a:pt x="226695" y="0"/>
                  </a:lnTo>
                  <a:lnTo>
                    <a:pt x="0" y="0"/>
                  </a:lnTo>
                  <a:lnTo>
                    <a:pt x="0" y="558165"/>
                  </a:lnTo>
                  <a:lnTo>
                    <a:pt x="140970" y="558165"/>
                  </a:lnTo>
                  <a:lnTo>
                    <a:pt x="140970" y="132398"/>
                  </a:lnTo>
                  <a:lnTo>
                    <a:pt x="250507" y="558165"/>
                  </a:lnTo>
                  <a:lnTo>
                    <a:pt x="378142" y="558165"/>
                  </a:lnTo>
                  <a:lnTo>
                    <a:pt x="487680" y="132398"/>
                  </a:lnTo>
                  <a:lnTo>
                    <a:pt x="487680" y="558165"/>
                  </a:lnTo>
                  <a:lnTo>
                    <a:pt x="628650" y="558165"/>
                  </a:lnTo>
                  <a:close/>
                </a:path>
              </a:pathLst>
            </a:custGeom>
            <a:solidFill>
              <a:srgbClr val="FFFFFF"/>
            </a:solidFill>
            <a:ln w="9525"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DBC02FF-2C48-2731-2B4C-8C3B9FAF8AB2}"/>
              </a:ext>
            </a:extLst>
          </p:cNvPr>
          <p:cNvSpPr txBox="1"/>
          <p:nvPr userDrawn="1"/>
        </p:nvSpPr>
        <p:spPr>
          <a:xfrm>
            <a:off x="-1" y="-474744"/>
            <a:ext cx="4745621" cy="369332"/>
          </a:xfrm>
          <a:prstGeom prst="rect">
            <a:avLst/>
          </a:prstGeom>
          <a:noFill/>
        </p:spPr>
        <p:txBody>
          <a:bodyPr wrap="square" rtlCol="0">
            <a:spAutoFit/>
          </a:bodyPr>
          <a:lstStyle/>
          <a:p>
            <a:r>
              <a:rPr lang="en-US" dirty="0">
                <a:solidFill>
                  <a:schemeClr val="tx2"/>
                </a:solidFill>
                <a:latin typeface="Avenir Book" panose="02000503020000020003" pitchFamily="2" charset="0"/>
              </a:rPr>
              <a:t>Connect </a:t>
            </a:r>
            <a:r>
              <a:rPr lang="en-US" dirty="0">
                <a:solidFill>
                  <a:schemeClr val="tx2"/>
                </a:solidFill>
                <a:latin typeface="Figtree" pitchFamily="2" charset="0"/>
              </a:rPr>
              <a:t>with</a:t>
            </a:r>
            <a:r>
              <a:rPr lang="en-US" dirty="0">
                <a:solidFill>
                  <a:schemeClr val="tx2"/>
                </a:solidFill>
                <a:latin typeface="Avenir Book" panose="02000503020000020003" pitchFamily="2" charset="0"/>
              </a:rPr>
              <a:t> MESC</a:t>
            </a:r>
          </a:p>
        </p:txBody>
      </p:sp>
    </p:spTree>
    <p:extLst>
      <p:ext uri="{BB962C8B-B14F-4D97-AF65-F5344CB8AC3E}">
        <p14:creationId xmlns:p14="http://schemas.microsoft.com/office/powerpoint/2010/main" val="1220482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Photo Endcap - MESC 40">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36644" y="5564937"/>
            <a:ext cx="4516816" cy="651488"/>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hqprint">
            <a:alphaModFix amt="60000"/>
            <a:extLst>
              <a:ext uri="{28A0092B-C50C-407E-A947-70E740481C1C}">
                <a14:useLocalDpi xmlns:a14="http://schemas.microsoft.com/office/drawing/2010/main"/>
              </a:ext>
            </a:extLst>
          </a:blip>
          <a:srcRect/>
          <a:stretch/>
        </p:blipFill>
        <p:spPr>
          <a:xfrm>
            <a:off x="-30005" y="2430"/>
            <a:ext cx="12233495" cy="5062805"/>
          </a:xfrm>
          <a:prstGeom prst="rect">
            <a:avLst/>
          </a:prstGeom>
          <a:solidFill>
            <a:schemeClr val="tx2"/>
          </a:solidFill>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41495" y="-339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
        <p:nvSpPr>
          <p:cNvPr id="7" name="TextBox 6">
            <a:extLst>
              <a:ext uri="{FF2B5EF4-FFF2-40B4-BE49-F238E27FC236}">
                <a16:creationId xmlns:a16="http://schemas.microsoft.com/office/drawing/2014/main" id="{987A537D-2671-76BA-935F-952B49B9F04E}"/>
              </a:ext>
            </a:extLst>
          </p:cNvPr>
          <p:cNvSpPr txBox="1"/>
          <p:nvPr userDrawn="1"/>
        </p:nvSpPr>
        <p:spPr>
          <a:xfrm>
            <a:off x="-24647" y="-496527"/>
            <a:ext cx="6105644" cy="369332"/>
          </a:xfrm>
          <a:prstGeom prst="rect">
            <a:avLst/>
          </a:prstGeom>
          <a:noFill/>
        </p:spPr>
        <p:txBody>
          <a:bodyPr wrap="square">
            <a:spAutoFit/>
          </a:bodyPr>
          <a:lstStyle/>
          <a:p>
            <a:r>
              <a:rPr lang="en-US" dirty="0">
                <a:solidFill>
                  <a:schemeClr val="tx2"/>
                </a:solidFill>
                <a:latin typeface="Avenir Book" panose="02000503020000020003" pitchFamily="2" charset="0"/>
              </a:rPr>
              <a:t>Closing Slide: Investing in America’s Energy Future</a:t>
            </a:r>
          </a:p>
        </p:txBody>
      </p:sp>
      <p:sp>
        <p:nvSpPr>
          <p:cNvPr id="13" name="TextBox 12">
            <a:extLst>
              <a:ext uri="{FF2B5EF4-FFF2-40B4-BE49-F238E27FC236}">
                <a16:creationId xmlns:a16="http://schemas.microsoft.com/office/drawing/2014/main" id="{EBD2A24C-DF10-C922-E240-D7285222293D}"/>
              </a:ext>
            </a:extLst>
          </p:cNvPr>
          <p:cNvSpPr txBox="1"/>
          <p:nvPr userDrawn="1"/>
        </p:nvSpPr>
        <p:spPr>
          <a:xfrm>
            <a:off x="890551" y="2438241"/>
            <a:ext cx="9977712" cy="646331"/>
          </a:xfrm>
          <a:prstGeom prst="rect">
            <a:avLst/>
          </a:prstGeom>
          <a:noFill/>
        </p:spPr>
        <p:txBody>
          <a:bodyPr wrap="square" rtlCol="0">
            <a:spAutoFit/>
          </a:bodyPr>
          <a:lstStyle/>
          <a:p>
            <a:pPr algn="ctr"/>
            <a:r>
              <a:rPr lang="en-US" sz="3600" b="0" i="1" spc="0" dirty="0">
                <a:solidFill>
                  <a:schemeClr val="bg1"/>
                </a:solidFill>
                <a:effectLst/>
                <a:latin typeface="Figtree" pitchFamily="2" charset="0"/>
              </a:rPr>
              <a:t>Investing in America’s Energy Future</a:t>
            </a:r>
          </a:p>
        </p:txBody>
      </p:sp>
    </p:spTree>
    <p:extLst>
      <p:ext uri="{BB962C8B-B14F-4D97-AF65-F5344CB8AC3E}">
        <p14:creationId xmlns:p14="http://schemas.microsoft.com/office/powerpoint/2010/main" val="1046278886"/>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_Photo Endcap - MESC 40">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836644" y="5564937"/>
            <a:ext cx="4516816" cy="651488"/>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rotWithShape="1">
          <a:blip r:embed="rId3" cstate="screen">
            <a:alphaModFix amt="40000"/>
            <a:extLst>
              <a:ext uri="{28A0092B-C50C-407E-A947-70E740481C1C}">
                <a14:useLocalDpi xmlns:a14="http://schemas.microsoft.com/office/drawing/2010/main"/>
              </a:ext>
            </a:extLst>
          </a:blip>
          <a:srcRect/>
          <a:stretch/>
        </p:blipFill>
        <p:spPr>
          <a:xfrm>
            <a:off x="-13576" y="0"/>
            <a:ext cx="12177348" cy="5075811"/>
          </a:xfrm>
          <a:prstGeom prst="rect">
            <a:avLst/>
          </a:prstGeom>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38318" y="-2106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chemeClr val="tx2"/>
            </a:solidFill>
            <a:ln w="0" cap="flat">
              <a:noFill/>
              <a:prstDash val="solid"/>
              <a:miter/>
            </a:ln>
          </p:spPr>
          <p:txBody>
            <a:bodyPr rtlCol="0" anchor="ctr"/>
            <a:lstStyle/>
            <a:p>
              <a:endParaRPr lang="en-US" dirty="0"/>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
        <p:nvSpPr>
          <p:cNvPr id="3" name="TextBox 2">
            <a:extLst>
              <a:ext uri="{FF2B5EF4-FFF2-40B4-BE49-F238E27FC236}">
                <a16:creationId xmlns:a16="http://schemas.microsoft.com/office/drawing/2014/main" id="{4788A6C5-5603-5C66-BC83-97A05C2B0D91}"/>
              </a:ext>
            </a:extLst>
          </p:cNvPr>
          <p:cNvSpPr txBox="1"/>
          <p:nvPr userDrawn="1"/>
        </p:nvSpPr>
        <p:spPr>
          <a:xfrm>
            <a:off x="890551" y="2438241"/>
            <a:ext cx="9977712" cy="646331"/>
          </a:xfrm>
          <a:prstGeom prst="rect">
            <a:avLst/>
          </a:prstGeom>
          <a:noFill/>
        </p:spPr>
        <p:txBody>
          <a:bodyPr wrap="square" rtlCol="0">
            <a:spAutoFit/>
          </a:bodyPr>
          <a:lstStyle/>
          <a:p>
            <a:pPr algn="ctr"/>
            <a:r>
              <a:rPr lang="en-US" sz="3600" b="0" i="1" spc="0" dirty="0">
                <a:solidFill>
                  <a:schemeClr val="bg1"/>
                </a:solidFill>
                <a:effectLst/>
                <a:latin typeface="Figtree" pitchFamily="2" charset="0"/>
              </a:rPr>
              <a:t>Investing in America’s Energy Future</a:t>
            </a:r>
          </a:p>
        </p:txBody>
      </p:sp>
      <p:sp>
        <p:nvSpPr>
          <p:cNvPr id="7" name="TextBox 6">
            <a:extLst>
              <a:ext uri="{FF2B5EF4-FFF2-40B4-BE49-F238E27FC236}">
                <a16:creationId xmlns:a16="http://schemas.microsoft.com/office/drawing/2014/main" id="{F242E0F4-8DBD-877C-61FD-3D8D3B3EE1D7}"/>
              </a:ext>
            </a:extLst>
          </p:cNvPr>
          <p:cNvSpPr txBox="1"/>
          <p:nvPr userDrawn="1"/>
        </p:nvSpPr>
        <p:spPr>
          <a:xfrm>
            <a:off x="-24647" y="-496527"/>
            <a:ext cx="6105644" cy="369332"/>
          </a:xfrm>
          <a:prstGeom prst="rect">
            <a:avLst/>
          </a:prstGeom>
          <a:noFill/>
        </p:spPr>
        <p:txBody>
          <a:bodyPr wrap="square">
            <a:spAutoFit/>
          </a:bodyPr>
          <a:lstStyle/>
          <a:p>
            <a:r>
              <a:rPr lang="en-US" dirty="0">
                <a:solidFill>
                  <a:schemeClr val="tx2"/>
                </a:solidFill>
                <a:latin typeface="Avenir Book" panose="02000503020000020003" pitchFamily="2" charset="0"/>
              </a:rPr>
              <a:t>Closing Slide: Investing in America’s Energy Future</a:t>
            </a:r>
          </a:p>
        </p:txBody>
      </p:sp>
    </p:spTree>
    <p:extLst>
      <p:ext uri="{BB962C8B-B14F-4D97-AF65-F5344CB8AC3E}">
        <p14:creationId xmlns:p14="http://schemas.microsoft.com/office/powerpoint/2010/main" val="246003252"/>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Navy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2293752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with Wide Conten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017800"/>
            <a:ext cx="10515600" cy="5000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Arrow Connector 3">
            <a:extLst>
              <a:ext uri="{FF2B5EF4-FFF2-40B4-BE49-F238E27FC236}">
                <a16:creationId xmlns:a16="http://schemas.microsoft.com/office/drawing/2014/main" id="{8969597F-0B7E-1512-99AC-99CA972F08EE}"/>
              </a:ext>
            </a:extLst>
          </p:cNvPr>
          <p:cNvCxnSpPr>
            <a:cxnSpLocks/>
          </p:cNvCxnSpPr>
          <p:nvPr userDrawn="1"/>
        </p:nvCxnSpPr>
        <p:spPr>
          <a:xfrm>
            <a:off x="0" y="459147"/>
            <a:ext cx="11814629" cy="0"/>
          </a:xfrm>
          <a:prstGeom prst="straightConnector1">
            <a:avLst/>
          </a:prstGeom>
          <a:ln w="63500">
            <a:solidFill>
              <a:schemeClr val="accent4"/>
            </a:solidFill>
            <a:tailEnd type="triangle" w="med" len="med"/>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55FB3A9F-5899-D444-A804-908F3CD392AB}"/>
              </a:ext>
            </a:extLst>
          </p:cNvPr>
          <p:cNvSpPr>
            <a:spLocks noGrp="1"/>
          </p:cNvSpPr>
          <p:nvPr>
            <p:ph type="title"/>
          </p:nvPr>
        </p:nvSpPr>
        <p:spPr>
          <a:xfrm>
            <a:off x="355338" y="93979"/>
            <a:ext cx="11028942" cy="338554"/>
          </a:xfrm>
          <a:prstGeom prst="rect">
            <a:avLst/>
          </a:prstGeom>
        </p:spPr>
        <p:txBody>
          <a:bodyPr wrap="square" lIns="91440" tIns="0" rIns="91440" bIns="0" anchor="ctr" anchorCtr="0">
            <a:spAutoFit/>
          </a:bodyPr>
          <a:lstStyle>
            <a:lvl1pPr algn="l">
              <a:defRPr sz="2200" b="1" i="0">
                <a:solidFill>
                  <a:schemeClr val="accent5"/>
                </a:solidFill>
                <a:latin typeface="Avenir Medium" panose="02000503020000020003" pitchFamily="2" charset="0"/>
                <a:cs typeface="Avenir Medium" panose="02000503020000020003" pitchFamily="2" charset="0"/>
              </a:defRPr>
            </a:lvl1pPr>
          </a:lstStyle>
          <a:p>
            <a:r>
              <a:rPr lang="en-US"/>
              <a:t>Click to edit Master title style</a:t>
            </a:r>
          </a:p>
        </p:txBody>
      </p:sp>
      <p:sp>
        <p:nvSpPr>
          <p:cNvPr id="6" name="Text Placeholder 5">
            <a:extLst>
              <a:ext uri="{FF2B5EF4-FFF2-40B4-BE49-F238E27FC236}">
                <a16:creationId xmlns:a16="http://schemas.microsoft.com/office/drawing/2014/main" id="{3110F6CC-F798-DFC5-747C-5949619DD269}"/>
              </a:ext>
            </a:extLst>
          </p:cNvPr>
          <p:cNvSpPr>
            <a:spLocks noGrp="1"/>
          </p:cNvSpPr>
          <p:nvPr>
            <p:ph type="body" sz="quarter" idx="10"/>
          </p:nvPr>
        </p:nvSpPr>
        <p:spPr>
          <a:xfrm>
            <a:off x="830742" y="480085"/>
            <a:ext cx="10523058" cy="537711"/>
          </a:xfrm>
        </p:spPr>
        <p:txBody>
          <a:bodyPr anchor="ctr">
            <a:normAutofit/>
          </a:bodyPr>
          <a:lstStyle>
            <a:lvl1pPr marL="0" indent="0" algn="ctr">
              <a:buNone/>
              <a:defRPr sz="1400" b="1">
                <a:solidFill>
                  <a:schemeClr val="accent5"/>
                </a:solidFill>
              </a:defRPr>
            </a:lvl1pPr>
          </a:lstStyle>
          <a:p>
            <a:pPr lvl="0"/>
            <a:r>
              <a:rPr lang="en-US"/>
              <a:t>Click to edit Master text styles</a:t>
            </a:r>
          </a:p>
        </p:txBody>
      </p:sp>
      <p:sp>
        <p:nvSpPr>
          <p:cNvPr id="3" name="Holder 5">
            <a:extLst>
              <a:ext uri="{FF2B5EF4-FFF2-40B4-BE49-F238E27FC236}">
                <a16:creationId xmlns:a16="http://schemas.microsoft.com/office/drawing/2014/main" id="{3790B023-AB0F-46B1-693E-AF3B6B06C0ED}"/>
              </a:ext>
            </a:extLst>
          </p:cNvPr>
          <p:cNvSpPr>
            <a:spLocks noGrp="1"/>
          </p:cNvSpPr>
          <p:nvPr>
            <p:ph type="dt" sz="half" idx="2"/>
          </p:nvPr>
        </p:nvSpPr>
        <p:spPr>
          <a:xfrm>
            <a:off x="8029005" y="6420884"/>
            <a:ext cx="1799771" cy="153888"/>
          </a:xfrm>
          <a:prstGeom prst="rect">
            <a:avLst/>
          </a:prstGeom>
        </p:spPr>
        <p:txBody>
          <a:bodyPr wrap="square" lIns="0" tIns="0" rIns="0" bIns="0">
            <a:spAutoFit/>
          </a:bodyPr>
          <a:lstStyle>
            <a:lvl1pPr algn="r">
              <a:defRPr sz="1000">
                <a:solidFill>
                  <a:schemeClr val="accent6">
                    <a:lumMod val="50000"/>
                  </a:schemeClr>
                </a:solidFill>
                <a:latin typeface="Calibri" panose="020F0502020204030204" pitchFamily="34" charset="0"/>
                <a:cs typeface="Calibri" panose="020F0502020204030204" pitchFamily="34" charset="0"/>
              </a:defRPr>
            </a:lvl1pPr>
          </a:lstStyle>
          <a:p>
            <a:r>
              <a:rPr lang="en-US"/>
              <a:t>Date</a:t>
            </a:r>
          </a:p>
        </p:txBody>
      </p:sp>
      <p:sp>
        <p:nvSpPr>
          <p:cNvPr id="5" name="Footer Placeholder 4">
            <a:extLst>
              <a:ext uri="{FF2B5EF4-FFF2-40B4-BE49-F238E27FC236}">
                <a16:creationId xmlns:a16="http://schemas.microsoft.com/office/drawing/2014/main" id="{7AB4F934-80CD-F288-BA95-A82667FD597E}"/>
              </a:ext>
            </a:extLst>
          </p:cNvPr>
          <p:cNvSpPr>
            <a:spLocks noGrp="1"/>
          </p:cNvSpPr>
          <p:nvPr>
            <p:ph type="ftr" sz="quarter" idx="3"/>
          </p:nvPr>
        </p:nvSpPr>
        <p:spPr>
          <a:xfrm>
            <a:off x="5084" y="6615352"/>
            <a:ext cx="6080756" cy="148609"/>
          </a:xfrm>
          <a:prstGeom prst="rect">
            <a:avLst/>
          </a:prstGeom>
        </p:spPr>
        <p:txBody>
          <a:bodyPr anchor="ctr"/>
          <a:lstStyle>
            <a:lvl1pPr algn="l">
              <a:defRPr sz="1000" b="1" i="0">
                <a:solidFill>
                  <a:srgbClr val="FF0000"/>
                </a:solidFill>
                <a:latin typeface="Avenir Black" panose="02000503020000020003" pitchFamily="2" charset="0"/>
                <a:cs typeface="Calibri" panose="020F0502020204030204" pitchFamily="34" charset="0"/>
              </a:defRPr>
            </a:lvl1pPr>
          </a:lstStyle>
          <a:p>
            <a:r>
              <a:rPr lang="en-US"/>
              <a:t>PROCUREMENT SENSITIVE – NOT FOR DISTRIBUTION</a:t>
            </a:r>
          </a:p>
        </p:txBody>
      </p:sp>
      <p:sp>
        <p:nvSpPr>
          <p:cNvPr id="7" name="Slide Number Placeholder 5">
            <a:extLst>
              <a:ext uri="{FF2B5EF4-FFF2-40B4-BE49-F238E27FC236}">
                <a16:creationId xmlns:a16="http://schemas.microsoft.com/office/drawing/2014/main" id="{9B4A9B4E-1162-0C08-7F12-88898EEF0C9D}"/>
              </a:ext>
            </a:extLst>
          </p:cNvPr>
          <p:cNvSpPr>
            <a:spLocks noGrp="1"/>
          </p:cNvSpPr>
          <p:nvPr>
            <p:ph type="sldNum" sz="quarter" idx="4"/>
          </p:nvPr>
        </p:nvSpPr>
        <p:spPr>
          <a:xfrm>
            <a:off x="9940838" y="6420884"/>
            <a:ext cx="343268" cy="148609"/>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27363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ide Content - Left Align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F6327-9A86-6E46-ADB5-C0D223C61BA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C4A48A7-09B5-083C-E7B6-68D29582C796}"/>
              </a:ext>
            </a:extLst>
          </p:cNvPr>
          <p:cNvSpPr>
            <a:spLocks noGrp="1"/>
          </p:cNvSpPr>
          <p:nvPr>
            <p:ph type="ftr" sz="quarter" idx="10"/>
          </p:nvPr>
        </p:nvSpPr>
        <p:spPr/>
        <p:txBody>
          <a:bodyPr/>
          <a:lstStyle>
            <a:lvl1pPr>
              <a:defRPr sz="800"/>
            </a:lvl1pPr>
          </a:lstStyle>
          <a:p>
            <a:endParaRPr lang="en-US" dirty="0"/>
          </a:p>
        </p:txBody>
      </p:sp>
      <p:sp>
        <p:nvSpPr>
          <p:cNvPr id="4" name="Slide Number Placeholder 3">
            <a:extLst>
              <a:ext uri="{FF2B5EF4-FFF2-40B4-BE49-F238E27FC236}">
                <a16:creationId xmlns:a16="http://schemas.microsoft.com/office/drawing/2014/main" id="{53DA7BA6-25BB-B2DE-EAF4-9BD4BBB7EF58}"/>
              </a:ext>
            </a:extLst>
          </p:cNvPr>
          <p:cNvSpPr>
            <a:spLocks noGrp="1"/>
          </p:cNvSpPr>
          <p:nvPr>
            <p:ph type="sldNum" sz="quarter" idx="11"/>
          </p:nvPr>
        </p:nvSpPr>
        <p:spPr/>
        <p:txBody>
          <a:bodyPr/>
          <a:lstStyle>
            <a:lvl1pPr>
              <a:defRPr sz="800"/>
            </a:lvl1pPr>
          </a:lstStyle>
          <a:p>
            <a:fld id="{02B5F485-982A-41B4-B657-C5770F0E9220}" type="slidenum">
              <a:rPr lang="en-US" smtClean="0"/>
              <a:pPr/>
              <a:t>‹#›</a:t>
            </a:fld>
            <a:endParaRPr lang="en-US" dirty="0"/>
          </a:p>
        </p:txBody>
      </p:sp>
      <p:sp>
        <p:nvSpPr>
          <p:cNvPr id="5" name="Date Placeholder 4">
            <a:extLst>
              <a:ext uri="{FF2B5EF4-FFF2-40B4-BE49-F238E27FC236}">
                <a16:creationId xmlns:a16="http://schemas.microsoft.com/office/drawing/2014/main" id="{80AA9020-A3A0-3522-22FF-2F75FDA93714}"/>
              </a:ext>
            </a:extLst>
          </p:cNvPr>
          <p:cNvSpPr>
            <a:spLocks noGrp="1"/>
          </p:cNvSpPr>
          <p:nvPr>
            <p:ph type="dt" sz="half" idx="12"/>
          </p:nvPr>
        </p:nvSpPr>
        <p:spPr>
          <a:xfrm>
            <a:off x="7217563" y="6525906"/>
            <a:ext cx="1799771" cy="123111"/>
          </a:xfrm>
        </p:spPr>
        <p:txBody>
          <a:bodyPr/>
          <a:lstStyle>
            <a:lvl1pPr>
              <a:defRPr sz="800"/>
            </a:lvl1pPr>
          </a:lstStyle>
          <a:p>
            <a:endParaRPr lang="en-US" dirty="0"/>
          </a:p>
        </p:txBody>
      </p:sp>
      <p:sp>
        <p:nvSpPr>
          <p:cNvPr id="6" name="Text Placeholder 12">
            <a:extLst>
              <a:ext uri="{FF2B5EF4-FFF2-40B4-BE49-F238E27FC236}">
                <a16:creationId xmlns:a16="http://schemas.microsoft.com/office/drawing/2014/main" id="{B334BA7D-61E7-C044-ECE4-B4224A049919}"/>
              </a:ext>
            </a:extLst>
          </p:cNvPr>
          <p:cNvSpPr>
            <a:spLocks noGrp="1"/>
          </p:cNvSpPr>
          <p:nvPr>
            <p:ph idx="1"/>
          </p:nvPr>
        </p:nvSpPr>
        <p:spPr>
          <a:xfrm>
            <a:off x="838200" y="1492624"/>
            <a:ext cx="10515600" cy="4251800"/>
          </a:xfrm>
          <a:prstGeom prst="rect">
            <a:avLst/>
          </a:prstGeom>
        </p:spPr>
        <p:txBody>
          <a:bodyPr vert="horz" lIns="91440" tIns="45720" rIns="91440" bIns="45720" rtlCol="0">
            <a:norm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8972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199" y="2165684"/>
            <a:ext cx="5081335" cy="3517791"/>
          </a:xfrm>
          <a:prstGeom prst="rect">
            <a:avLst/>
          </a:prstGeom>
        </p:spPr>
        <p:txBody>
          <a:bodyPr/>
          <a:lstStyle>
            <a:lvl1pPr>
              <a:buClr>
                <a:schemeClr val="tx2"/>
              </a:buClr>
              <a:defRPr b="0" i="0">
                <a:solidFill>
                  <a:schemeClr val="tx1"/>
                </a:solidFill>
                <a:latin typeface="Avenir Medium" panose="02000503020000020003" pitchFamily="2" charset="0"/>
              </a:defRPr>
            </a:lvl1pPr>
            <a:lvl2pPr>
              <a:buClr>
                <a:schemeClr val="tx2"/>
              </a:buClr>
              <a:defRPr b="0" i="0">
                <a:solidFill>
                  <a:schemeClr val="tx1"/>
                </a:solidFill>
                <a:latin typeface="Avenir Medium" panose="02000503020000020003" pitchFamily="2" charset="0"/>
              </a:defRPr>
            </a:lvl2pPr>
            <a:lvl3pPr>
              <a:buClr>
                <a:schemeClr val="tx2"/>
              </a:buClr>
              <a:defRPr b="0" i="0">
                <a:solidFill>
                  <a:schemeClr val="tx1"/>
                </a:solidFill>
                <a:latin typeface="Avenir Medium" panose="02000503020000020003" pitchFamily="2" charset="0"/>
              </a:defRPr>
            </a:lvl3pPr>
            <a:lvl4pPr>
              <a:buClr>
                <a:schemeClr val="tx2"/>
              </a:buClr>
              <a:defRPr b="0" i="0">
                <a:solidFill>
                  <a:schemeClr val="tx1"/>
                </a:solidFill>
                <a:latin typeface="Avenir Medium" panose="02000503020000020003" pitchFamily="2" charset="0"/>
              </a:defRPr>
            </a:lvl4pPr>
            <a:lvl5pPr>
              <a:buClr>
                <a:schemeClr val="tx2"/>
              </a:buClr>
              <a:defRPr b="0" i="0">
                <a:solidFill>
                  <a:schemeClr val="tx1"/>
                </a:solidFill>
                <a:latin typeface="Avenir Medium"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272463" y="2165684"/>
            <a:ext cx="5081336" cy="3517791"/>
          </a:xfrm>
          <a:prstGeom prst="rect">
            <a:avLst/>
          </a:prstGeo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29D12DF0-F90B-9B03-C1AE-B8A94501783E}"/>
              </a:ext>
            </a:extLst>
          </p:cNvPr>
          <p:cNvSpPr>
            <a:spLocks noGrp="1"/>
          </p:cNvSpPr>
          <p:nvPr>
            <p:ph type="body" idx="17" hasCustomPrompt="1"/>
          </p:nvPr>
        </p:nvSpPr>
        <p:spPr>
          <a:xfrm>
            <a:off x="845363"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E042AEA2-DB87-78C3-E9EB-D5019D82C650}"/>
              </a:ext>
            </a:extLst>
          </p:cNvPr>
          <p:cNvSpPr>
            <a:spLocks noGrp="1"/>
          </p:cNvSpPr>
          <p:nvPr>
            <p:ph type="body" idx="18" hasCustomPrompt="1"/>
          </p:nvPr>
        </p:nvSpPr>
        <p:spPr>
          <a:xfrm>
            <a:off x="6276045"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Holder 2">
            <a:extLst>
              <a:ext uri="{FF2B5EF4-FFF2-40B4-BE49-F238E27FC236}">
                <a16:creationId xmlns:a16="http://schemas.microsoft.com/office/drawing/2014/main" id="{75DD30B6-1218-455A-D93F-43DE0C856423}"/>
              </a:ext>
            </a:extLst>
          </p:cNvPr>
          <p:cNvSpPr>
            <a:spLocks noGrp="1"/>
          </p:cNvSpPr>
          <p:nvPr>
            <p:ph type="title"/>
          </p:nvPr>
        </p:nvSpPr>
        <p:spPr>
          <a:xfrm>
            <a:off x="815529" y="397614"/>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6971378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0AE4E-79BC-4E6E-AC2E-2F7DFBD9D7CE}"/>
              </a:ext>
            </a:extLst>
          </p:cNvPr>
          <p:cNvSpPr>
            <a:spLocks noGrp="1"/>
          </p:cNvSpPr>
          <p:nvPr>
            <p:ph type="title"/>
          </p:nvPr>
        </p:nvSpPr>
        <p:spPr>
          <a:xfrm>
            <a:off x="838200" y="306848"/>
            <a:ext cx="10657112" cy="548640"/>
          </a:xfrm>
        </p:spPr>
        <p:txBody>
          <a:bodyPr>
            <a:normAutofit/>
          </a:bodyPr>
          <a:lstStyle>
            <a:lvl1pPr>
              <a:defRPr sz="3999" b="1">
                <a:solidFill>
                  <a:srgbClr val="215FAC"/>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A46A898-3381-4E9E-B7A4-8026068C101C}"/>
              </a:ext>
            </a:extLst>
          </p:cNvPr>
          <p:cNvSpPr>
            <a:spLocks noGrp="1"/>
          </p:cNvSpPr>
          <p:nvPr>
            <p:ph idx="1"/>
          </p:nvPr>
        </p:nvSpPr>
        <p:spPr>
          <a:xfrm>
            <a:off x="838200" y="1175657"/>
            <a:ext cx="10657113" cy="493775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DFAC75A4-94DB-4723-B604-82CB4A6ACFB6}"/>
              </a:ext>
            </a:extLst>
          </p:cNvPr>
          <p:cNvSpPr/>
          <p:nvPr/>
        </p:nvSpPr>
        <p:spPr>
          <a:xfrm>
            <a:off x="0" y="306848"/>
            <a:ext cx="594360" cy="548640"/>
          </a:xfrm>
          <a:prstGeom prst="rect">
            <a:avLst/>
          </a:prstGeom>
          <a:solidFill>
            <a:srgbClr val="25A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DA544A1-086A-461E-A27F-555BE36BABB1}"/>
              </a:ext>
            </a:extLst>
          </p:cNvPr>
          <p:cNvSpPr/>
          <p:nvPr userDrawn="1"/>
        </p:nvSpPr>
        <p:spPr>
          <a:xfrm>
            <a:off x="1907156" y="6174417"/>
            <a:ext cx="10284844" cy="548640"/>
          </a:xfrm>
          <a:prstGeom prst="rect">
            <a:avLst/>
          </a:prstGeom>
          <a:solidFill>
            <a:srgbClr val="25ABDF"/>
          </a:solidFill>
          <a:ln w="44450">
            <a:solidFill>
              <a:srgbClr val="25AB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D8D06188-35F7-89D2-2FF1-F8A28A18A1D8}"/>
              </a:ext>
            </a:extLst>
          </p:cNvPr>
          <p:cNvGrpSpPr/>
          <p:nvPr userDrawn="1"/>
        </p:nvGrpSpPr>
        <p:grpSpPr>
          <a:xfrm>
            <a:off x="0" y="6174417"/>
            <a:ext cx="1897734" cy="548640"/>
            <a:chOff x="9420" y="5464649"/>
            <a:chExt cx="1897734" cy="548640"/>
          </a:xfrm>
        </p:grpSpPr>
        <p:pic>
          <p:nvPicPr>
            <p:cNvPr id="6" name="Picture 5" descr="Blue and black text on a black background&#10;&#10;Description automatically generated">
              <a:extLst>
                <a:ext uri="{FF2B5EF4-FFF2-40B4-BE49-F238E27FC236}">
                  <a16:creationId xmlns:a16="http://schemas.microsoft.com/office/drawing/2014/main" id="{66EB44E1-BFBC-25AD-C120-F807171A56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20" y="5501243"/>
              <a:ext cx="1804267" cy="475449"/>
            </a:xfrm>
            <a:prstGeom prst="rect">
              <a:avLst/>
            </a:prstGeom>
          </p:spPr>
        </p:pic>
        <p:sp>
          <p:nvSpPr>
            <p:cNvPr id="7" name="Rectangle 6">
              <a:extLst>
                <a:ext uri="{FF2B5EF4-FFF2-40B4-BE49-F238E27FC236}">
                  <a16:creationId xmlns:a16="http://schemas.microsoft.com/office/drawing/2014/main" id="{4253C2D7-4498-787F-784C-6A5DFEC55BC2}"/>
                </a:ext>
              </a:extLst>
            </p:cNvPr>
            <p:cNvSpPr/>
            <p:nvPr userDrawn="1"/>
          </p:nvSpPr>
          <p:spPr>
            <a:xfrm>
              <a:off x="9420" y="5464649"/>
              <a:ext cx="1897734" cy="548640"/>
            </a:xfrm>
            <a:prstGeom prst="rect">
              <a:avLst/>
            </a:prstGeom>
            <a:noFill/>
            <a:ln w="41275">
              <a:solidFill>
                <a:srgbClr val="25AB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4042939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110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12" name="Slide Number">
            <a:extLst>
              <a:ext uri="{FF2B5EF4-FFF2-40B4-BE49-F238E27FC236}">
                <a16:creationId xmlns:a16="http://schemas.microsoft.com/office/drawing/2014/main" id="{91AFBA86-07DC-4844-B473-00A40BE4CDC8}"/>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581979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Section Title Whit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230B5-A936-ABB3-0919-4AC28AAE7B7B}"/>
              </a:ext>
            </a:extLst>
          </p:cNvPr>
          <p:cNvSpPr>
            <a:spLocks noGrp="1"/>
          </p:cNvSpPr>
          <p:nvPr>
            <p:ph type="ctrTitle"/>
          </p:nvPr>
        </p:nvSpPr>
        <p:spPr>
          <a:xfrm>
            <a:off x="1035424" y="685800"/>
            <a:ext cx="10340788" cy="2084575"/>
          </a:xfrm>
          <a:prstGeom prst="rect">
            <a:avLst/>
          </a:prstGeom>
        </p:spPr>
        <p:txBody>
          <a:bodyPr anchor="b"/>
          <a:lstStyle>
            <a:lvl1pPr algn="ctr">
              <a:defRPr sz="4500" b="0">
                <a:solidFill>
                  <a:schemeClr val="tx2"/>
                </a:solidFill>
              </a:defRPr>
            </a:lvl1pPr>
          </a:lstStyle>
          <a:p>
            <a:r>
              <a:rPr lang="en-US" dirty="0"/>
              <a:t>Click to edit Master title style</a:t>
            </a:r>
          </a:p>
        </p:txBody>
      </p:sp>
      <p:sp>
        <p:nvSpPr>
          <p:cNvPr id="3" name="Subtitle 2">
            <a:extLst>
              <a:ext uri="{FF2B5EF4-FFF2-40B4-BE49-F238E27FC236}">
                <a16:creationId xmlns:a16="http://schemas.microsoft.com/office/drawing/2014/main" id="{EAD2BDD5-303B-F09D-4E2F-1814EDCBEC28}"/>
              </a:ext>
            </a:extLst>
          </p:cNvPr>
          <p:cNvSpPr>
            <a:spLocks noGrp="1"/>
          </p:cNvSpPr>
          <p:nvPr>
            <p:ph type="subTitle" idx="1"/>
          </p:nvPr>
        </p:nvSpPr>
        <p:spPr>
          <a:xfrm>
            <a:off x="1035424" y="2943132"/>
            <a:ext cx="10340788" cy="1655762"/>
          </a:xfrm>
          <a:prstGeom prst="rect">
            <a:avLst/>
          </a:prstGeo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Footer Placeholder 4">
            <a:extLst>
              <a:ext uri="{FF2B5EF4-FFF2-40B4-BE49-F238E27FC236}">
                <a16:creationId xmlns:a16="http://schemas.microsoft.com/office/drawing/2014/main" id="{D6CF46EB-4CE6-3348-1A9B-AA6A6EF60800}"/>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9" name="Slide Number Placeholder 5">
            <a:extLst>
              <a:ext uri="{FF2B5EF4-FFF2-40B4-BE49-F238E27FC236}">
                <a16:creationId xmlns:a16="http://schemas.microsoft.com/office/drawing/2014/main" id="{7F09A90A-C4BE-FFE6-C03A-90E489E3FB1E}"/>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20" name="Holder 5">
            <a:extLst>
              <a:ext uri="{FF2B5EF4-FFF2-40B4-BE49-F238E27FC236}">
                <a16:creationId xmlns:a16="http://schemas.microsoft.com/office/drawing/2014/main" id="{186919C5-B833-DB51-E249-8A088306FA8D}"/>
              </a:ext>
            </a:extLst>
          </p:cNvPr>
          <p:cNvSpPr>
            <a:spLocks noGrp="1"/>
          </p:cNvSpPr>
          <p:nvPr>
            <p:ph type="dt" sz="half" idx="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940661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entered Title with Wide Conten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Figtree" pitchFamily="2" charset="0"/>
                <a:cs typeface="Figtree" pitchFamily="2" charset="0"/>
              </a:defRPr>
            </a:lvl1pPr>
          </a:lstStyle>
          <a:p>
            <a:r>
              <a:rPr lang="en-US" dirty="0"/>
              <a:t>Click to edit Master title style</a:t>
            </a:r>
            <a:endParaRPr dirty="0"/>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419370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SC Explainer Deck 2024 - One Col">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536902" y="1110294"/>
            <a:ext cx="10851724"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385184" y="650318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6757385" y="650318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4" name="Rectangle 3">
            <a:extLst>
              <a:ext uri="{FF2B5EF4-FFF2-40B4-BE49-F238E27FC236}">
                <a16:creationId xmlns:a16="http://schemas.microsoft.com/office/drawing/2014/main" id="{4DDA2376-CAAD-805F-9763-A8AF8A037C14}"/>
              </a:ext>
            </a:extLst>
          </p:cNvPr>
          <p:cNvSpPr>
            <a:spLocks/>
          </p:cNvSpPr>
          <p:nvPr userDrawn="1"/>
        </p:nvSpPr>
        <p:spPr>
          <a:xfrm>
            <a:off x="12044034" y="6321357"/>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Holder 2">
            <a:extLst>
              <a:ext uri="{FF2B5EF4-FFF2-40B4-BE49-F238E27FC236}">
                <a16:creationId xmlns:a16="http://schemas.microsoft.com/office/drawing/2014/main" id="{CBDA7528-37C0-54A7-6F41-CB4CB4D77631}"/>
              </a:ext>
            </a:extLst>
          </p:cNvPr>
          <p:cNvSpPr>
            <a:spLocks noGrp="1"/>
          </p:cNvSpPr>
          <p:nvPr>
            <p:ph type="title"/>
          </p:nvPr>
        </p:nvSpPr>
        <p:spPr>
          <a:xfrm>
            <a:off x="385184" y="300485"/>
            <a:ext cx="10866964" cy="461665"/>
          </a:xfrm>
          <a:prstGeom prst="rect">
            <a:avLst/>
          </a:prstGeom>
        </p:spPr>
        <p:txBody>
          <a:bodyPr wrap="square" lIns="91440" tIns="0" rIns="91440" bIns="0" anchor="t" anchorCtr="0">
            <a:spAutoFit/>
          </a:bodyPr>
          <a:lstStyle>
            <a:lvl1pPr algn="l">
              <a:defRPr sz="3000" b="1" i="0">
                <a:solidFill>
                  <a:schemeClr val="tx2"/>
                </a:solidFill>
                <a:latin typeface="Figtree" pitchFamily="2" charset="0"/>
                <a:cs typeface="Figtree" pitchFamily="2" charset="0"/>
              </a:defRPr>
            </a:lvl1pPr>
          </a:lstStyle>
          <a:p>
            <a:r>
              <a:rPr lang="en-US" dirty="0"/>
              <a:t>Click to edit Master title style</a:t>
            </a:r>
          </a:p>
        </p:txBody>
      </p:sp>
      <p:grpSp>
        <p:nvGrpSpPr>
          <p:cNvPr id="10" name="Group 9">
            <a:extLst>
              <a:ext uri="{FF2B5EF4-FFF2-40B4-BE49-F238E27FC236}">
                <a16:creationId xmlns:a16="http://schemas.microsoft.com/office/drawing/2014/main" id="{B24986D6-A42B-C218-2E18-9C33BF7B05EB}"/>
              </a:ext>
            </a:extLst>
          </p:cNvPr>
          <p:cNvGrpSpPr/>
          <p:nvPr userDrawn="1"/>
        </p:nvGrpSpPr>
        <p:grpSpPr>
          <a:xfrm>
            <a:off x="8740673" y="6320527"/>
            <a:ext cx="520560" cy="480764"/>
            <a:chOff x="8740673" y="6320527"/>
            <a:chExt cx="520560" cy="480764"/>
          </a:xfrm>
        </p:grpSpPr>
        <p:sp>
          <p:nvSpPr>
            <p:cNvPr id="6" name="Rectangle 5">
              <a:extLst>
                <a:ext uri="{FF2B5EF4-FFF2-40B4-BE49-F238E27FC236}">
                  <a16:creationId xmlns:a16="http://schemas.microsoft.com/office/drawing/2014/main" id="{72ACF42B-3A15-6CD4-FDCC-9C183C739E40}"/>
                </a:ext>
              </a:extLst>
            </p:cNvPr>
            <p:cNvSpPr>
              <a:spLocks/>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5">
              <a:extLst>
                <a:ext uri="{FF2B5EF4-FFF2-40B4-BE49-F238E27FC236}">
                  <a16:creationId xmlns:a16="http://schemas.microsoft.com/office/drawing/2014/main" id="{3096B6A4-1F01-9F49-5E2F-DF055D17293D}"/>
                </a:ext>
              </a:extLst>
            </p:cNvPr>
            <p:cNvSpPr>
              <a:spLocks/>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5">
              <a:extLst>
                <a:ext uri="{FF2B5EF4-FFF2-40B4-BE49-F238E27FC236}">
                  <a16:creationId xmlns:a16="http://schemas.microsoft.com/office/drawing/2014/main" id="{A5D90A39-7284-34A3-7540-990C0D25C4BB}"/>
                </a:ext>
              </a:extLst>
            </p:cNvPr>
            <p:cNvSpPr>
              <a:spLocks/>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98DB261-2996-ECA2-F12C-C73D75374676}"/>
                </a:ext>
              </a:extLst>
            </p:cNvPr>
            <p:cNvSpPr>
              <a:spLocks/>
            </p:cNvSpPr>
            <p:nvPr userDrawn="1"/>
          </p:nvSpPr>
          <p:spPr>
            <a:xfrm rot="10800000" flipH="1">
              <a:off x="8773100" y="6321351"/>
              <a:ext cx="488133" cy="479940"/>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473571">
                  <a:moveTo>
                    <a:pt x="0" y="6590"/>
                  </a:moveTo>
                  <a:lnTo>
                    <a:pt x="488133" y="0"/>
                  </a:lnTo>
                  <a:lnTo>
                    <a:pt x="488133" y="473571"/>
                  </a:lnTo>
                  <a:lnTo>
                    <a:pt x="236135" y="473571"/>
                  </a:lnTo>
                  <a:lnTo>
                    <a:pt x="0" y="659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8747733" y="6503186"/>
            <a:ext cx="508000" cy="153888"/>
          </a:xfrm>
          <a:prstGeom prst="rect">
            <a:avLst/>
          </a:prstGeom>
        </p:spPr>
        <p:txBody>
          <a:bodyPr anchor="ctr"/>
          <a:lstStyle>
            <a:lvl1pPr algn="r">
              <a:defRPr sz="1000" b="1" i="0">
                <a:solidFill>
                  <a:schemeClr val="bg1"/>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grpSp>
        <p:nvGrpSpPr>
          <p:cNvPr id="12" name="Group 11">
            <a:extLst>
              <a:ext uri="{FF2B5EF4-FFF2-40B4-BE49-F238E27FC236}">
                <a16:creationId xmlns:a16="http://schemas.microsoft.com/office/drawing/2014/main" id="{FFF3F5A7-C185-B7F5-B1E4-323B30F96F06}"/>
              </a:ext>
            </a:extLst>
          </p:cNvPr>
          <p:cNvGrpSpPr/>
          <p:nvPr userDrawn="1"/>
        </p:nvGrpSpPr>
        <p:grpSpPr>
          <a:xfrm rot="10800000">
            <a:off x="-904911" y="300484"/>
            <a:ext cx="520560" cy="480764"/>
            <a:chOff x="8740673" y="6320527"/>
            <a:chExt cx="520560" cy="480764"/>
          </a:xfrm>
        </p:grpSpPr>
        <p:sp>
          <p:nvSpPr>
            <p:cNvPr id="13" name="Rectangle 5">
              <a:extLst>
                <a:ext uri="{FF2B5EF4-FFF2-40B4-BE49-F238E27FC236}">
                  <a16:creationId xmlns:a16="http://schemas.microsoft.com/office/drawing/2014/main" id="{3E1939AC-31E3-DFFD-3A39-F0FCB6286A60}"/>
                </a:ext>
              </a:extLst>
            </p:cNvPr>
            <p:cNvSpPr>
              <a:spLocks/>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5">
              <a:extLst>
                <a:ext uri="{FF2B5EF4-FFF2-40B4-BE49-F238E27FC236}">
                  <a16:creationId xmlns:a16="http://schemas.microsoft.com/office/drawing/2014/main" id="{3F563770-9FD4-6490-628D-8F267365C72C}"/>
                </a:ext>
              </a:extLst>
            </p:cNvPr>
            <p:cNvSpPr>
              <a:spLocks/>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5">
              <a:extLst>
                <a:ext uri="{FF2B5EF4-FFF2-40B4-BE49-F238E27FC236}">
                  <a16:creationId xmlns:a16="http://schemas.microsoft.com/office/drawing/2014/main" id="{6DBCBD05-09C5-A918-396D-1D9D2C61F49D}"/>
                </a:ext>
              </a:extLst>
            </p:cNvPr>
            <p:cNvSpPr>
              <a:spLocks/>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6">
              <a:extLst>
                <a:ext uri="{FF2B5EF4-FFF2-40B4-BE49-F238E27FC236}">
                  <a16:creationId xmlns:a16="http://schemas.microsoft.com/office/drawing/2014/main" id="{244CC581-27A0-66CD-9067-61DABD47DBDD}"/>
                </a:ext>
              </a:extLst>
            </p:cNvPr>
            <p:cNvSpPr>
              <a:spLocks/>
            </p:cNvSpPr>
            <p:nvPr userDrawn="1"/>
          </p:nvSpPr>
          <p:spPr>
            <a:xfrm rot="10800000" flipH="1">
              <a:off x="8773100" y="6321351"/>
              <a:ext cx="488133" cy="479940"/>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473571">
                  <a:moveTo>
                    <a:pt x="0" y="6590"/>
                  </a:moveTo>
                  <a:lnTo>
                    <a:pt x="488133" y="0"/>
                  </a:lnTo>
                  <a:lnTo>
                    <a:pt x="488133" y="473571"/>
                  </a:lnTo>
                  <a:lnTo>
                    <a:pt x="236135" y="473571"/>
                  </a:lnTo>
                  <a:lnTo>
                    <a:pt x="0" y="659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Rectangle 19">
            <a:extLst>
              <a:ext uri="{FF2B5EF4-FFF2-40B4-BE49-F238E27FC236}">
                <a16:creationId xmlns:a16="http://schemas.microsoft.com/office/drawing/2014/main" id="{9F4BC9F9-BD0B-5E9F-97F7-B6A78999E0E3}"/>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3775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MESC Explainer Deck 2024 - One Col">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19C8B370-8A04-217F-D5C3-C9D0E2CE4061}"/>
              </a:ext>
            </a:extLst>
          </p:cNvPr>
          <p:cNvGrpSpPr/>
          <p:nvPr userDrawn="1"/>
        </p:nvGrpSpPr>
        <p:grpSpPr>
          <a:xfrm>
            <a:off x="11609262" y="6323328"/>
            <a:ext cx="606670" cy="476662"/>
            <a:chOff x="8740673" y="6320527"/>
            <a:chExt cx="606670" cy="476662"/>
          </a:xfrm>
        </p:grpSpPr>
        <p:sp>
          <p:nvSpPr>
            <p:cNvPr id="19" name="Rectangle 5">
              <a:extLst>
                <a:ext uri="{FF2B5EF4-FFF2-40B4-BE49-F238E27FC236}">
                  <a16:creationId xmlns:a16="http://schemas.microsoft.com/office/drawing/2014/main" id="{C4D3182D-C4E4-C8E3-75A9-B2F62513EC71}"/>
                </a:ext>
              </a:extLst>
            </p:cNvPr>
            <p:cNvSpPr>
              <a:spLocks/>
            </p:cNvSpPr>
            <p:nvPr userDrawn="1"/>
          </p:nvSpPr>
          <p:spPr>
            <a:xfrm>
              <a:off x="8887473" y="6320527"/>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5">
              <a:extLst>
                <a:ext uri="{FF2B5EF4-FFF2-40B4-BE49-F238E27FC236}">
                  <a16:creationId xmlns:a16="http://schemas.microsoft.com/office/drawing/2014/main" id="{E92381CA-0CF8-2511-00DA-AA542EE5EEF7}"/>
                </a:ext>
              </a:extLst>
            </p:cNvPr>
            <p:cNvSpPr>
              <a:spLocks/>
            </p:cNvSpPr>
            <p:nvPr userDrawn="1"/>
          </p:nvSpPr>
          <p:spPr>
            <a:xfrm>
              <a:off x="8811136" y="6468820"/>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5">
              <a:extLst>
                <a:ext uri="{FF2B5EF4-FFF2-40B4-BE49-F238E27FC236}">
                  <a16:creationId xmlns:a16="http://schemas.microsoft.com/office/drawing/2014/main" id="{2F0757DE-D8CA-3C91-F248-D1B67B97A640}"/>
                </a:ext>
              </a:extLst>
            </p:cNvPr>
            <p:cNvSpPr>
              <a:spLocks/>
            </p:cNvSpPr>
            <p:nvPr userDrawn="1"/>
          </p:nvSpPr>
          <p:spPr>
            <a:xfrm>
              <a:off x="8740673" y="6612856"/>
              <a:ext cx="126806" cy="180683"/>
            </a:xfrm>
            <a:custGeom>
              <a:avLst/>
              <a:gdLst>
                <a:gd name="connsiteX0" fmla="*/ 0 w 488133"/>
                <a:gd name="connsiteY0" fmla="*/ 0 h 998172"/>
                <a:gd name="connsiteX1" fmla="*/ 488133 w 488133"/>
                <a:gd name="connsiteY1" fmla="*/ 0 h 998172"/>
                <a:gd name="connsiteX2" fmla="*/ 488133 w 488133"/>
                <a:gd name="connsiteY2" fmla="*/ 998172 h 998172"/>
                <a:gd name="connsiteX3" fmla="*/ 0 w 488133"/>
                <a:gd name="connsiteY3" fmla="*/ 998172 h 998172"/>
                <a:gd name="connsiteX4" fmla="*/ 0 w 488133"/>
                <a:gd name="connsiteY4" fmla="*/ 0 h 998172"/>
                <a:gd name="connsiteX0" fmla="*/ 0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0 w 488133"/>
                <a:gd name="connsiteY4" fmla="*/ 0 h 1003196"/>
                <a:gd name="connsiteX0" fmla="*/ 341644 w 488133"/>
                <a:gd name="connsiteY0" fmla="*/ 0 h 1003196"/>
                <a:gd name="connsiteX1" fmla="*/ 488133 w 488133"/>
                <a:gd name="connsiteY1" fmla="*/ 0 h 1003196"/>
                <a:gd name="connsiteX2" fmla="*/ 151513 w 488133"/>
                <a:gd name="connsiteY2" fmla="*/ 1003196 h 1003196"/>
                <a:gd name="connsiteX3" fmla="*/ 0 w 488133"/>
                <a:gd name="connsiteY3" fmla="*/ 998172 h 1003196"/>
                <a:gd name="connsiteX4" fmla="*/ 341644 w 488133"/>
                <a:gd name="connsiteY4" fmla="*/ 0 h 1003196"/>
                <a:gd name="connsiteX0" fmla="*/ 341644 w 488133"/>
                <a:gd name="connsiteY0" fmla="*/ 0 h 998172"/>
                <a:gd name="connsiteX1" fmla="*/ 488133 w 488133"/>
                <a:gd name="connsiteY1" fmla="*/ 0 h 998172"/>
                <a:gd name="connsiteX2" fmla="*/ 166586 w 488133"/>
                <a:gd name="connsiteY2" fmla="*/ 988124 h 998172"/>
                <a:gd name="connsiteX3" fmla="*/ 0 w 488133"/>
                <a:gd name="connsiteY3" fmla="*/ 998172 h 998172"/>
                <a:gd name="connsiteX4" fmla="*/ 341644 w 488133"/>
                <a:gd name="connsiteY4" fmla="*/ 0 h 998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133" h="998172">
                  <a:moveTo>
                    <a:pt x="341644" y="0"/>
                  </a:moveTo>
                  <a:lnTo>
                    <a:pt x="488133" y="0"/>
                  </a:lnTo>
                  <a:lnTo>
                    <a:pt x="166586" y="988124"/>
                  </a:lnTo>
                  <a:lnTo>
                    <a:pt x="0" y="998172"/>
                  </a:lnTo>
                  <a:lnTo>
                    <a:pt x="341644"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6">
              <a:extLst>
                <a:ext uri="{FF2B5EF4-FFF2-40B4-BE49-F238E27FC236}">
                  <a16:creationId xmlns:a16="http://schemas.microsoft.com/office/drawing/2014/main" id="{DE0C976C-AB51-19CA-D186-56D64C1E4C30}"/>
                </a:ext>
              </a:extLst>
            </p:cNvPr>
            <p:cNvSpPr>
              <a:spLocks/>
            </p:cNvSpPr>
            <p:nvPr userDrawn="1"/>
          </p:nvSpPr>
          <p:spPr>
            <a:xfrm rot="10800000" flipH="1">
              <a:off x="8773101" y="6321351"/>
              <a:ext cx="574242" cy="475838"/>
            </a:xfrm>
            <a:custGeom>
              <a:avLst/>
              <a:gdLst>
                <a:gd name="connsiteX0" fmla="*/ 0 w 231900"/>
                <a:gd name="connsiteY0" fmla="*/ 0 h 473571"/>
                <a:gd name="connsiteX1" fmla="*/ 231900 w 231900"/>
                <a:gd name="connsiteY1" fmla="*/ 0 h 473571"/>
                <a:gd name="connsiteX2" fmla="*/ 231900 w 231900"/>
                <a:gd name="connsiteY2" fmla="*/ 473571 h 473571"/>
                <a:gd name="connsiteX3" fmla="*/ 0 w 231900"/>
                <a:gd name="connsiteY3" fmla="*/ 473571 h 473571"/>
                <a:gd name="connsiteX4" fmla="*/ 0 w 231900"/>
                <a:gd name="connsiteY4" fmla="*/ 0 h 473571"/>
                <a:gd name="connsiteX0" fmla="*/ 0 w 231900"/>
                <a:gd name="connsiteY0" fmla="*/ 0 h 473571"/>
                <a:gd name="connsiteX1" fmla="*/ 231900 w 231900"/>
                <a:gd name="connsiteY1" fmla="*/ 0 h 473571"/>
                <a:gd name="connsiteX2" fmla="*/ 231900 w 231900"/>
                <a:gd name="connsiteY2" fmla="*/ 473571 h 473571"/>
                <a:gd name="connsiteX3" fmla="*/ 75362 w 231900"/>
                <a:gd name="connsiteY3" fmla="*/ 473571 h 473571"/>
                <a:gd name="connsiteX4" fmla="*/ 0 w 231900"/>
                <a:gd name="connsiteY4" fmla="*/ 0 h 473571"/>
                <a:gd name="connsiteX0" fmla="*/ 0 w 352481"/>
                <a:gd name="connsiteY0" fmla="*/ 0 h 478595"/>
                <a:gd name="connsiteX1" fmla="*/ 352481 w 352481"/>
                <a:gd name="connsiteY1" fmla="*/ 5024 h 478595"/>
                <a:gd name="connsiteX2" fmla="*/ 352481 w 352481"/>
                <a:gd name="connsiteY2" fmla="*/ 478595 h 478595"/>
                <a:gd name="connsiteX3" fmla="*/ 195943 w 352481"/>
                <a:gd name="connsiteY3" fmla="*/ 478595 h 478595"/>
                <a:gd name="connsiteX4" fmla="*/ 0 w 352481"/>
                <a:gd name="connsiteY4" fmla="*/ 0 h 478595"/>
                <a:gd name="connsiteX0" fmla="*/ 0 w 352481"/>
                <a:gd name="connsiteY0" fmla="*/ 0 h 478595"/>
                <a:gd name="connsiteX1" fmla="*/ 352481 w 352481"/>
                <a:gd name="connsiteY1" fmla="*/ 5024 h 478595"/>
                <a:gd name="connsiteX2" fmla="*/ 352481 w 352481"/>
                <a:gd name="connsiteY2" fmla="*/ 478595 h 478595"/>
                <a:gd name="connsiteX3" fmla="*/ 170822 w 352481"/>
                <a:gd name="connsiteY3" fmla="*/ 478595 h 478595"/>
                <a:gd name="connsiteX4" fmla="*/ 0 w 352481"/>
                <a:gd name="connsiteY4" fmla="*/ 0 h 478595"/>
                <a:gd name="connsiteX0" fmla="*/ 0 w 362529"/>
                <a:gd name="connsiteY0" fmla="*/ 0 h 473571"/>
                <a:gd name="connsiteX1" fmla="*/ 362529 w 362529"/>
                <a:gd name="connsiteY1" fmla="*/ 0 h 473571"/>
                <a:gd name="connsiteX2" fmla="*/ 362529 w 362529"/>
                <a:gd name="connsiteY2" fmla="*/ 473571 h 473571"/>
                <a:gd name="connsiteX3" fmla="*/ 180870 w 362529"/>
                <a:gd name="connsiteY3" fmla="*/ 473571 h 473571"/>
                <a:gd name="connsiteX4" fmla="*/ 0 w 362529"/>
                <a:gd name="connsiteY4" fmla="*/ 0 h 473571"/>
                <a:gd name="connsiteX0" fmla="*/ 0 w 362529"/>
                <a:gd name="connsiteY0" fmla="*/ 0 h 473571"/>
                <a:gd name="connsiteX1" fmla="*/ 362529 w 362529"/>
                <a:gd name="connsiteY1" fmla="*/ 0 h 473571"/>
                <a:gd name="connsiteX2" fmla="*/ 362529 w 362529"/>
                <a:gd name="connsiteY2" fmla="*/ 473571 h 473571"/>
                <a:gd name="connsiteX3" fmla="*/ 110531 w 362529"/>
                <a:gd name="connsiteY3" fmla="*/ 473571 h 473571"/>
                <a:gd name="connsiteX4" fmla="*/ 0 w 362529"/>
                <a:gd name="connsiteY4" fmla="*/ 0 h 473571"/>
                <a:gd name="connsiteX0" fmla="*/ 0 w 488133"/>
                <a:gd name="connsiteY0" fmla="*/ 0 h 483486"/>
                <a:gd name="connsiteX1" fmla="*/ 488133 w 488133"/>
                <a:gd name="connsiteY1" fmla="*/ 9915 h 483486"/>
                <a:gd name="connsiteX2" fmla="*/ 488133 w 488133"/>
                <a:gd name="connsiteY2" fmla="*/ 483486 h 483486"/>
                <a:gd name="connsiteX3" fmla="*/ 236135 w 488133"/>
                <a:gd name="connsiteY3" fmla="*/ 483486 h 483486"/>
                <a:gd name="connsiteX4" fmla="*/ 0 w 488133"/>
                <a:gd name="connsiteY4" fmla="*/ 0 h 483486"/>
                <a:gd name="connsiteX0" fmla="*/ 0 w 488133"/>
                <a:gd name="connsiteY0" fmla="*/ 6590 h 473571"/>
                <a:gd name="connsiteX1" fmla="*/ 488133 w 488133"/>
                <a:gd name="connsiteY1" fmla="*/ 0 h 473571"/>
                <a:gd name="connsiteX2" fmla="*/ 488133 w 488133"/>
                <a:gd name="connsiteY2" fmla="*/ 473571 h 473571"/>
                <a:gd name="connsiteX3" fmla="*/ 236135 w 488133"/>
                <a:gd name="connsiteY3" fmla="*/ 473571 h 473571"/>
                <a:gd name="connsiteX4" fmla="*/ 0 w 488133"/>
                <a:gd name="connsiteY4" fmla="*/ 6590 h 473571"/>
                <a:gd name="connsiteX0" fmla="*/ 0 w 574242"/>
                <a:gd name="connsiteY0" fmla="*/ 6590 h 473571"/>
                <a:gd name="connsiteX1" fmla="*/ 488133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6590 h 473571"/>
                <a:gd name="connsiteX1" fmla="*/ 574242 w 574242"/>
                <a:gd name="connsiteY1" fmla="*/ 0 h 473571"/>
                <a:gd name="connsiteX2" fmla="*/ 574242 w 574242"/>
                <a:gd name="connsiteY2" fmla="*/ 469525 h 473571"/>
                <a:gd name="connsiteX3" fmla="*/ 236135 w 574242"/>
                <a:gd name="connsiteY3" fmla="*/ 473571 h 473571"/>
                <a:gd name="connsiteX4" fmla="*/ 0 w 574242"/>
                <a:gd name="connsiteY4" fmla="*/ 6590 h 473571"/>
                <a:gd name="connsiteX0" fmla="*/ 0 w 574242"/>
                <a:gd name="connsiteY0" fmla="*/ 0 h 466981"/>
                <a:gd name="connsiteX1" fmla="*/ 574242 w 574242"/>
                <a:gd name="connsiteY1" fmla="*/ 5549 h 466981"/>
                <a:gd name="connsiteX2" fmla="*/ 574242 w 574242"/>
                <a:gd name="connsiteY2" fmla="*/ 462935 h 466981"/>
                <a:gd name="connsiteX3" fmla="*/ 236135 w 574242"/>
                <a:gd name="connsiteY3" fmla="*/ 466981 h 466981"/>
                <a:gd name="connsiteX4" fmla="*/ 0 w 574242"/>
                <a:gd name="connsiteY4" fmla="*/ 0 h 466981"/>
                <a:gd name="connsiteX0" fmla="*/ 0 w 574242"/>
                <a:gd name="connsiteY0" fmla="*/ 2543 h 469524"/>
                <a:gd name="connsiteX1" fmla="*/ 574242 w 574242"/>
                <a:gd name="connsiteY1" fmla="*/ 0 h 469524"/>
                <a:gd name="connsiteX2" fmla="*/ 574242 w 574242"/>
                <a:gd name="connsiteY2" fmla="*/ 465478 h 469524"/>
                <a:gd name="connsiteX3" fmla="*/ 236135 w 574242"/>
                <a:gd name="connsiteY3" fmla="*/ 469524 h 469524"/>
                <a:gd name="connsiteX4" fmla="*/ 0 w 574242"/>
                <a:gd name="connsiteY4" fmla="*/ 2543 h 46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242" h="469524">
                  <a:moveTo>
                    <a:pt x="0" y="2543"/>
                  </a:moveTo>
                  <a:lnTo>
                    <a:pt x="574242" y="0"/>
                  </a:lnTo>
                  <a:lnTo>
                    <a:pt x="574242" y="465478"/>
                  </a:lnTo>
                  <a:lnTo>
                    <a:pt x="236135" y="469524"/>
                  </a:lnTo>
                  <a:lnTo>
                    <a:pt x="0" y="2543"/>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400423" y="1333208"/>
            <a:ext cx="11210329"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Holder 2">
            <a:extLst>
              <a:ext uri="{FF2B5EF4-FFF2-40B4-BE49-F238E27FC236}">
                <a16:creationId xmlns:a16="http://schemas.microsoft.com/office/drawing/2014/main" id="{CBDA7528-37C0-54A7-6F41-CB4CB4D77631}"/>
              </a:ext>
            </a:extLst>
          </p:cNvPr>
          <p:cNvSpPr>
            <a:spLocks noGrp="1"/>
          </p:cNvSpPr>
          <p:nvPr>
            <p:ph type="title"/>
          </p:nvPr>
        </p:nvSpPr>
        <p:spPr>
          <a:xfrm>
            <a:off x="385184" y="281630"/>
            <a:ext cx="10866964" cy="461665"/>
          </a:xfrm>
          <a:prstGeom prst="rect">
            <a:avLst/>
          </a:prstGeom>
        </p:spPr>
        <p:txBody>
          <a:bodyPr wrap="square" lIns="91440" tIns="0" rIns="91440" bIns="0" anchor="t" anchorCtr="0">
            <a:spAutoFit/>
          </a:bodyPr>
          <a:lstStyle>
            <a:lvl1pPr algn="l">
              <a:defRPr sz="3000" b="1" i="0">
                <a:solidFill>
                  <a:schemeClr val="tx2"/>
                </a:solidFill>
                <a:latin typeface="Figtree" pitchFamily="2" charset="0"/>
                <a:cs typeface="Figtree" pitchFamily="2" charset="0"/>
              </a:defRPr>
            </a:lvl1pPr>
          </a:lstStyle>
          <a:p>
            <a:r>
              <a:rPr lang="en-US" dirty="0"/>
              <a:t>Click to edit Master title style</a:t>
            </a:r>
          </a:p>
        </p:txBody>
      </p:sp>
      <p:sp>
        <p:nvSpPr>
          <p:cNvPr id="8" name="Footer Placeholder 4">
            <a:extLst>
              <a:ext uri="{FF2B5EF4-FFF2-40B4-BE49-F238E27FC236}">
                <a16:creationId xmlns:a16="http://schemas.microsoft.com/office/drawing/2014/main" id="{BC716ED2-96F2-F8FD-F17B-887E4072689C}"/>
              </a:ext>
            </a:extLst>
          </p:cNvPr>
          <p:cNvSpPr>
            <a:spLocks noGrp="1"/>
          </p:cNvSpPr>
          <p:nvPr>
            <p:ph type="ftr" sz="quarter" idx="3"/>
          </p:nvPr>
        </p:nvSpPr>
        <p:spPr>
          <a:xfrm>
            <a:off x="2881756" y="6575526"/>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2" name="Holder 5">
            <a:extLst>
              <a:ext uri="{FF2B5EF4-FFF2-40B4-BE49-F238E27FC236}">
                <a16:creationId xmlns:a16="http://schemas.microsoft.com/office/drawing/2014/main" id="{25E8160F-FA7D-410D-72A0-8E11CFA7558D}"/>
              </a:ext>
            </a:extLst>
          </p:cNvPr>
          <p:cNvSpPr>
            <a:spLocks noGrp="1"/>
          </p:cNvSpPr>
          <p:nvPr>
            <p:ph type="dt" sz="half" idx="10"/>
          </p:nvPr>
        </p:nvSpPr>
        <p:spPr>
          <a:xfrm>
            <a:off x="9253957" y="6575525"/>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pic>
        <p:nvPicPr>
          <p:cNvPr id="13" name="Picture 12">
            <a:extLst>
              <a:ext uri="{FF2B5EF4-FFF2-40B4-BE49-F238E27FC236}">
                <a16:creationId xmlns:a16="http://schemas.microsoft.com/office/drawing/2014/main" id="{3BB7C808-ABF8-A235-0E45-14C2C04D283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rcRect/>
          <a:stretch/>
        </p:blipFill>
        <p:spPr>
          <a:xfrm>
            <a:off x="234921" y="6373266"/>
            <a:ext cx="2563796" cy="369792"/>
          </a:xfrm>
          <a:prstGeom prst="rect">
            <a:avLst/>
          </a:prstGeom>
        </p:spPr>
      </p:pic>
      <p:sp>
        <p:nvSpPr>
          <p:cNvPr id="17" name="Rectangle 16">
            <a:extLst>
              <a:ext uri="{FF2B5EF4-FFF2-40B4-BE49-F238E27FC236}">
                <a16:creationId xmlns:a16="http://schemas.microsoft.com/office/drawing/2014/main" id="{593560CB-D348-7B1F-7C36-EC03916B27F4}"/>
              </a:ext>
            </a:extLst>
          </p:cNvPr>
          <p:cNvSpPr>
            <a:spLocks noGrp="1" noRot="1" noMove="1" noResize="1" noEditPoints="1" noAdjustHandles="1" noChangeArrowheads="1" noChangeShapeType="1"/>
          </p:cNvSpPr>
          <p:nvPr userDrawn="1"/>
        </p:nvSpPr>
        <p:spPr>
          <a:xfrm>
            <a:off x="1" y="6321378"/>
            <a:ext cx="204940" cy="479939"/>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1183732-ACB7-A9BC-AE66-062FD48EE98B}"/>
              </a:ext>
            </a:extLst>
          </p:cNvPr>
          <p:cNvSpPr>
            <a:spLocks noGrp="1" noRot="1" noMove="1" noResize="1" noEditPoints="1" noAdjustHandles="1" noChangeArrowheads="1" noChangeShapeType="1"/>
          </p:cNvSpPr>
          <p:nvPr userDrawn="1"/>
        </p:nvSpPr>
        <p:spPr>
          <a:xfrm rot="10800000">
            <a:off x="0" y="6321377"/>
            <a:ext cx="45719" cy="47357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5">
            <a:extLst>
              <a:ext uri="{FF2B5EF4-FFF2-40B4-BE49-F238E27FC236}">
                <a16:creationId xmlns:a16="http://schemas.microsoft.com/office/drawing/2014/main" id="{A5533763-0B07-D368-99C1-66499FAC571D}"/>
              </a:ext>
            </a:extLst>
          </p:cNvPr>
          <p:cNvSpPr txBox="1">
            <a:spLocks/>
          </p:cNvSpPr>
          <p:nvPr userDrawn="1"/>
        </p:nvSpPr>
        <p:spPr>
          <a:xfrm>
            <a:off x="11618406" y="6515794"/>
            <a:ext cx="508000" cy="153888"/>
          </a:xfrm>
          <a:prstGeom prst="rect">
            <a:avLst/>
          </a:prstGeom>
        </p:spPr>
        <p:txBody>
          <a:bodyPr anchor="ctr"/>
          <a:lstStyle>
            <a:defPPr>
              <a:defRPr lang="en-US"/>
            </a:defPPr>
            <a:lvl1pPr marL="0" algn="r" defTabSz="914400" rtl="0" eaLnBrk="1" latinLnBrk="0" hangingPunct="1">
              <a:defRPr sz="1000" b="1" i="0" kern="1200">
                <a:solidFill>
                  <a:schemeClr val="accent5"/>
                </a:solidFill>
                <a:latin typeface="Avenir Black" panose="02000503020000020003" pitchFamily="2"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B5F485-982A-41B4-B657-C5770F0E9220}" type="slidenum">
              <a:rPr lang="en-US" smtClean="0">
                <a:solidFill>
                  <a:schemeClr val="bg1"/>
                </a:solidFill>
                <a:latin typeface="Arial" panose="020B0604020202020204" pitchFamily="34" charset="0"/>
                <a:cs typeface="Arial" panose="020B0604020202020204" pitchFamily="34" charset="0"/>
              </a:rPr>
              <a:pPr/>
              <a:t>‹#›</a:t>
            </a:fld>
            <a:endParaRPr lang="en-US" dirty="0">
              <a:solidFill>
                <a:schemeClr val="bg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2C551CA2-3FE5-4608-DC1B-4A355A875A5C}"/>
              </a:ext>
            </a:extLst>
          </p:cNvPr>
          <p:cNvSpPr>
            <a:spLocks/>
          </p:cNvSpPr>
          <p:nvPr userDrawn="1"/>
        </p:nvSpPr>
        <p:spPr>
          <a:xfrm>
            <a:off x="0" y="281631"/>
            <a:ext cx="193964" cy="46166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2210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Wide Content No Logo - for Tables and Heavy Graphics">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tx2"/>
              </a:buClr>
              <a:defRPr>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Figtree" pitchFamily="2" charset="0"/>
                <a:cs typeface="Figtree" pitchFamily="2" charset="0"/>
              </a:defRPr>
            </a:lvl1pPr>
          </a:lstStyle>
          <a:p>
            <a:r>
              <a:rPr lang="en-US"/>
              <a:t>Click to edit Master title style</a:t>
            </a:r>
            <a:endParaRPr dirty="0"/>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1346638"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2863019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lue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1pPr>
            <a:lvl2pPr marL="746333" indent="-342900">
              <a:buClr>
                <a:schemeClr val="tx2"/>
              </a:buClr>
              <a:buFont typeface="Arial" panose="020B0604020202020204" pitchFamily="34" charset="0"/>
              <a:buChar char="•"/>
              <a:defRPr>
                <a:latin typeface="Arial" panose="020B0604020202020204" pitchFamily="34" charset="0"/>
                <a:cs typeface="Arial" panose="020B0604020202020204" pitchFamily="34" charset="0"/>
              </a:defRPr>
            </a:lvl2pPr>
            <a:lvl3pPr marL="1092617"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3pPr>
            <a:lvl4pPr marL="1496050"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4pPr>
            <a:lvl5pPr marL="1899483" indent="-285750">
              <a:buClr>
                <a:schemeClr val="tx2"/>
              </a:buClr>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Figtree" pitchFamily="2" charset="0"/>
                <a:cs typeface="Figtree" pitchFamily="2" charset="0"/>
              </a:defRPr>
            </a:lvl1pPr>
          </a:lstStyle>
          <a:p>
            <a:r>
              <a:rPr lang="en-US" dirty="0"/>
              <a:t>Click to edit Master title style</a:t>
            </a:r>
            <a:endParaRPr dirty="0"/>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23111"/>
          </a:xfrm>
          <a:prstGeom prst="rect">
            <a:avLst/>
          </a:prstGeom>
        </p:spPr>
        <p:txBody>
          <a:bodyPr wrap="square" lIns="0" tIns="0" rIns="0" bIns="0">
            <a:spAutoFit/>
          </a:bodyPr>
          <a:lstStyle>
            <a:lvl1pPr algn="l">
              <a:defRPr sz="8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905482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CED4D5F-4043-DDD8-3B77-730E7E9E7272}"/>
              </a:ext>
            </a:extLst>
          </p:cNvPr>
          <p:cNvSpPr>
            <a:spLocks noGrp="1"/>
          </p:cNvSpPr>
          <p:nvPr>
            <p:ph type="body" idx="1"/>
          </p:nvPr>
        </p:nvSpPr>
        <p:spPr>
          <a:xfrm>
            <a:off x="838200" y="1492624"/>
            <a:ext cx="10515600" cy="4251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13">
            <a:extLst>
              <a:ext uri="{FF2B5EF4-FFF2-40B4-BE49-F238E27FC236}">
                <a16:creationId xmlns:a16="http://schemas.microsoft.com/office/drawing/2014/main" id="{CE6D0158-9E92-6045-E3E2-132EABB086A2}"/>
              </a:ext>
            </a:extLst>
          </p:cNvPr>
          <p:cNvSpPr>
            <a:spLocks noGrp="1"/>
          </p:cNvSpPr>
          <p:nvPr>
            <p:ph type="title"/>
          </p:nvPr>
        </p:nvSpPr>
        <p:spPr>
          <a:xfrm>
            <a:off x="838200" y="365126"/>
            <a:ext cx="10515600" cy="939240"/>
          </a:xfrm>
          <a:prstGeom prst="rect">
            <a:avLst/>
          </a:prstGeom>
        </p:spPr>
        <p:txBody>
          <a:bodyPr vert="horz" lIns="91440" tIns="45720" rIns="91440" bIns="45720" rtlCol="0" anchor="ctr">
            <a:normAutofit/>
          </a:bodyPr>
          <a:lstStyle/>
          <a:p>
            <a:r>
              <a:rPr lang="en-US"/>
              <a:t>Click to edit Master title style</a:t>
            </a:r>
            <a:endParaRPr lang="en-US" dirty="0"/>
          </a:p>
        </p:txBody>
      </p:sp>
      <p:pic>
        <p:nvPicPr>
          <p:cNvPr id="15" name="Picture 14">
            <a:extLst>
              <a:ext uri="{FF2B5EF4-FFF2-40B4-BE49-F238E27FC236}">
                <a16:creationId xmlns:a16="http://schemas.microsoft.com/office/drawing/2014/main" id="{B1D70DF0-68F5-AD6B-072D-AD417EFCB094}"/>
              </a:ext>
              <a:ext uri="{C183D7F6-B498-43B3-948B-1728B52AA6E4}">
                <adec:decorative xmlns:adec="http://schemas.microsoft.com/office/drawing/2017/decorative" val="1"/>
              </a:ext>
            </a:extLst>
          </p:cNvPr>
          <p:cNvPicPr>
            <a:picLocks noChangeAspect="1"/>
          </p:cNvPicPr>
          <p:nvPr userDrawn="1"/>
        </p:nvPicPr>
        <p:blipFill>
          <a:blip r:embed="rId34">
            <a:extLst>
              <a:ext uri="{28A0092B-C50C-407E-A947-70E740481C1C}">
                <a14:useLocalDpi xmlns:a14="http://schemas.microsoft.com/office/drawing/2010/main" val="0"/>
              </a:ext>
            </a:extLst>
          </a:blip>
          <a:srcRect/>
          <a:stretch/>
        </p:blipFill>
        <p:spPr>
          <a:xfrm>
            <a:off x="9382870" y="6352672"/>
            <a:ext cx="2696010" cy="388862"/>
          </a:xfrm>
          <a:prstGeom prst="rect">
            <a:avLst/>
          </a:prstGeom>
        </p:spPr>
      </p:pic>
      <p:sp>
        <p:nvSpPr>
          <p:cNvPr id="8" name="Footer Placeholder 4">
            <a:extLst>
              <a:ext uri="{FF2B5EF4-FFF2-40B4-BE49-F238E27FC236}">
                <a16:creationId xmlns:a16="http://schemas.microsoft.com/office/drawing/2014/main" id="{859394D0-4833-B6E0-93E6-B5DC76F47060}"/>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
        <p:nvSpPr>
          <p:cNvPr id="9" name="Slide Number Placeholder 5">
            <a:extLst>
              <a:ext uri="{FF2B5EF4-FFF2-40B4-BE49-F238E27FC236}">
                <a16:creationId xmlns:a16="http://schemas.microsoft.com/office/drawing/2014/main" id="{D656805F-FDB1-5871-DFA6-1F77619AF404}"/>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fld id="{02B5F485-982A-41B4-B657-C5770F0E9220}" type="slidenum">
              <a:rPr lang="en-US" smtClean="0"/>
              <a:pPr/>
              <a:t>‹#›</a:t>
            </a:fld>
            <a:endParaRPr lang="en-US" dirty="0"/>
          </a:p>
        </p:txBody>
      </p:sp>
      <p:sp>
        <p:nvSpPr>
          <p:cNvPr id="10" name="Holder 5">
            <a:extLst>
              <a:ext uri="{FF2B5EF4-FFF2-40B4-BE49-F238E27FC236}">
                <a16:creationId xmlns:a16="http://schemas.microsoft.com/office/drawing/2014/main" id="{A10BA4C4-F4F6-C096-E48F-CE9354B2916B}"/>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807088611"/>
      </p:ext>
    </p:extLst>
  </p:cSld>
  <p:clrMap bg1="lt1" tx1="dk1" bg2="lt2" tx2="dk2" accent1="accent1" accent2="accent2" accent3="accent3" accent4="accent4" accent5="accent5" accent6="accent6" hlink="hlink" folHlink="folHlink"/>
  <p:sldLayoutIdLst>
    <p:sldLayoutId id="2147483870" r:id="rId1"/>
    <p:sldLayoutId id="2147483935" r:id="rId2"/>
    <p:sldLayoutId id="2147483871" r:id="rId3"/>
    <p:sldLayoutId id="2147483890" r:id="rId4"/>
    <p:sldLayoutId id="2147483891" r:id="rId5"/>
    <p:sldLayoutId id="2147483892" r:id="rId6"/>
    <p:sldLayoutId id="2147483893" r:id="rId7"/>
    <p:sldLayoutId id="2147483894" r:id="rId8"/>
    <p:sldLayoutId id="2147483895" r:id="rId9"/>
    <p:sldLayoutId id="2147483897" r:id="rId10"/>
    <p:sldLayoutId id="2147483900" r:id="rId11"/>
    <p:sldLayoutId id="2147483911" r:id="rId12"/>
    <p:sldLayoutId id="2147483912" r:id="rId13"/>
    <p:sldLayoutId id="2147483913" r:id="rId14"/>
    <p:sldLayoutId id="2147483915" r:id="rId15"/>
    <p:sldLayoutId id="2147483916" r:id="rId16"/>
    <p:sldLayoutId id="2147483917" r:id="rId17"/>
    <p:sldLayoutId id="2147483918" r:id="rId18"/>
    <p:sldLayoutId id="2147483919" r:id="rId19"/>
    <p:sldLayoutId id="2147483920" r:id="rId20"/>
    <p:sldLayoutId id="2147483922" r:id="rId21"/>
    <p:sldLayoutId id="2147483923" r:id="rId22"/>
    <p:sldLayoutId id="2147483924" r:id="rId23"/>
    <p:sldLayoutId id="2147483925" r:id="rId24"/>
    <p:sldLayoutId id="2147483926" r:id="rId25"/>
    <p:sldLayoutId id="2147483932" r:id="rId26"/>
    <p:sldLayoutId id="2147483933" r:id="rId27"/>
    <p:sldLayoutId id="2147483936" r:id="rId28"/>
    <p:sldLayoutId id="2147483937" r:id="rId29"/>
    <p:sldLayoutId id="2147483938" r:id="rId30"/>
    <p:sldLayoutId id="2147483939" r:id="rId31"/>
    <p:sldLayoutId id="2147483940" r:id="rId32"/>
  </p:sldLayoutIdLst>
  <p:hf hdr="0" ftr="0" dt="0"/>
  <p:txStyles>
    <p:titleStyle>
      <a:lvl1pPr eaLnBrk="1" hangingPunct="1">
        <a:defRPr sz="3600" b="0" i="0" baseline="0">
          <a:solidFill>
            <a:schemeClr val="tx2"/>
          </a:solidFill>
          <a:latin typeface="Figtree" pitchFamily="2" charset="0"/>
          <a:ea typeface="+mj-ea"/>
          <a:cs typeface="+mj-cs"/>
        </a:defRPr>
      </a:lvl1pPr>
    </p:titleStyle>
    <p:bodyStyle>
      <a:lvl1pPr marL="342900" indent="-342900" eaLnBrk="1" hangingPunct="1">
        <a:spcAft>
          <a:spcPts val="0"/>
        </a:spcAft>
        <a:buClrTx/>
        <a:buFont typeface="Arial" panose="020B0604020202020204" pitchFamily="34" charset="0"/>
        <a:buChar char="•"/>
        <a:defRPr sz="2400">
          <a:latin typeface="Calibri" panose="020F0502020204030204" pitchFamily="34" charset="0"/>
          <a:ea typeface="+mn-ea"/>
          <a:cs typeface="Calibri" panose="020F0502020204030204" pitchFamily="34" charset="0"/>
        </a:defRPr>
      </a:lvl1pPr>
      <a:lvl2pPr marL="746333" indent="-342900" eaLnBrk="1" hangingPunct="1">
        <a:spcAft>
          <a:spcPts val="0"/>
        </a:spcAft>
        <a:buFont typeface="Arial" panose="020B0604020202020204" pitchFamily="34" charset="0"/>
        <a:buChar char="•"/>
        <a:defRPr sz="2000">
          <a:latin typeface="Calibri" panose="020F0502020204030204" pitchFamily="34" charset="0"/>
          <a:ea typeface="+mn-ea"/>
          <a:cs typeface="Calibri" panose="020F0502020204030204" pitchFamily="34" charset="0"/>
        </a:defRPr>
      </a:lvl2pPr>
      <a:lvl3pPr marL="1092617"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3pPr>
      <a:lvl4pPr marL="1496050"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4pPr>
      <a:lvl5pPr marL="1899483" indent="-285750" eaLnBrk="1" hangingPunct="1">
        <a:spcAft>
          <a:spcPts val="0"/>
        </a:spcAft>
        <a:buFont typeface="Arial" panose="020B0604020202020204" pitchFamily="34" charset="0"/>
        <a:buChar char="•"/>
        <a:defRPr sz="1600">
          <a:latin typeface="Calibri" panose="020F0502020204030204" pitchFamily="34" charset="0"/>
          <a:ea typeface="+mn-ea"/>
          <a:cs typeface="Calibri" panose="020F0502020204030204" pitchFamily="34" charset="0"/>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bodyStyle>
    <p:otherStyle>
      <a:lvl1pPr marL="0" eaLnBrk="1" hangingPunct="1">
        <a:defRPr>
          <a:latin typeface="+mn-lt"/>
          <a:ea typeface="+mn-ea"/>
          <a:cs typeface="+mn-cs"/>
        </a:defRPr>
      </a:lvl1pPr>
      <a:lvl2pPr marL="403433" eaLnBrk="1" hangingPunct="1">
        <a:defRPr>
          <a:latin typeface="+mn-lt"/>
          <a:ea typeface="+mn-ea"/>
          <a:cs typeface="+mn-cs"/>
        </a:defRPr>
      </a:lvl2pPr>
      <a:lvl3pPr marL="806867" eaLnBrk="1" hangingPunct="1">
        <a:defRPr>
          <a:latin typeface="+mn-lt"/>
          <a:ea typeface="+mn-ea"/>
          <a:cs typeface="+mn-cs"/>
        </a:defRPr>
      </a:lvl3pPr>
      <a:lvl4pPr marL="1210300" eaLnBrk="1" hangingPunct="1">
        <a:defRPr>
          <a:latin typeface="+mn-lt"/>
          <a:ea typeface="+mn-ea"/>
          <a:cs typeface="+mn-cs"/>
        </a:defRPr>
      </a:lvl4pPr>
      <a:lvl5pPr marL="1613733" eaLnBrk="1" hangingPunct="1">
        <a:defRPr>
          <a:latin typeface="+mn-lt"/>
          <a:ea typeface="+mn-ea"/>
          <a:cs typeface="+mn-cs"/>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7488">
          <p15:clr>
            <a:srgbClr val="F26B43"/>
          </p15:clr>
        </p15:guide>
        <p15:guide id="3" pos="3840">
          <p15:clr>
            <a:srgbClr val="F26B43"/>
          </p15:clr>
        </p15:guide>
        <p15:guide id="4" pos="168">
          <p15:clr>
            <a:srgbClr val="F26B43"/>
          </p15:clr>
        </p15:guide>
        <p15:guide id="5" orient="horz" pos="41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9.xml"/><Relationship Id="rId7" Type="http://schemas.openxmlformats.org/officeDocument/2006/relationships/image" Target="../media/image29.sv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28.png"/><Relationship Id="rId5" Type="http://schemas.openxmlformats.org/officeDocument/2006/relationships/image" Target="../media/image27.emf"/><Relationship Id="rId10" Type="http://schemas.openxmlformats.org/officeDocument/2006/relationships/image" Target="../media/image32.png"/><Relationship Id="rId4" Type="http://schemas.openxmlformats.org/officeDocument/2006/relationships/oleObject" Target="../embeddings/oleObject7.bin"/><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emf"/><Relationship Id="rId7" Type="http://schemas.openxmlformats.org/officeDocument/2006/relationships/image" Target="../media/image38.em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41.emf"/><Relationship Id="rId7" Type="http://schemas.openxmlformats.org/officeDocument/2006/relationships/image" Target="../media/image45.emf"/><Relationship Id="rId2" Type="http://schemas.openxmlformats.org/officeDocument/2006/relationships/image" Target="../media/image40.emf"/><Relationship Id="rId1" Type="http://schemas.openxmlformats.org/officeDocument/2006/relationships/slideLayout" Target="../slideLayouts/slideLayout7.xml"/><Relationship Id="rId6" Type="http://schemas.openxmlformats.org/officeDocument/2006/relationships/image" Target="../media/image44.emf"/><Relationship Id="rId5" Type="http://schemas.openxmlformats.org/officeDocument/2006/relationships/image" Target="../media/image43.emf"/><Relationship Id="rId4" Type="http://schemas.openxmlformats.org/officeDocument/2006/relationships/image" Target="../media/image42.emf"/></Relationships>
</file>

<file path=ppt/slides/_rels/slide16.xml.rels><?xml version="1.0" encoding="UTF-8" standalone="yes"?>
<Relationships xmlns="http://schemas.openxmlformats.org/package/2006/relationships"><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9" Type="http://schemas.openxmlformats.org/officeDocument/2006/relationships/tags" Target="../tags/tag54.xml"/><Relationship Id="rId21" Type="http://schemas.openxmlformats.org/officeDocument/2006/relationships/tags" Target="../tags/tag36.xml"/><Relationship Id="rId34" Type="http://schemas.openxmlformats.org/officeDocument/2006/relationships/tags" Target="../tags/tag49.xml"/><Relationship Id="rId42" Type="http://schemas.openxmlformats.org/officeDocument/2006/relationships/tags" Target="../tags/tag57.xml"/><Relationship Id="rId47" Type="http://schemas.openxmlformats.org/officeDocument/2006/relationships/image" Target="../media/image14.emf"/><Relationship Id="rId7" Type="http://schemas.openxmlformats.org/officeDocument/2006/relationships/tags" Target="../tags/tag22.xml"/><Relationship Id="rId2" Type="http://schemas.openxmlformats.org/officeDocument/2006/relationships/tags" Target="../tags/tag17.xml"/><Relationship Id="rId16" Type="http://schemas.openxmlformats.org/officeDocument/2006/relationships/tags" Target="../tags/tag31.xml"/><Relationship Id="rId29" Type="http://schemas.openxmlformats.org/officeDocument/2006/relationships/tags" Target="../tags/tag44.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tags" Target="../tags/tag47.xml"/><Relationship Id="rId37" Type="http://schemas.openxmlformats.org/officeDocument/2006/relationships/tags" Target="../tags/tag52.xml"/><Relationship Id="rId40" Type="http://schemas.openxmlformats.org/officeDocument/2006/relationships/tags" Target="../tags/tag55.xml"/><Relationship Id="rId45" Type="http://schemas.openxmlformats.org/officeDocument/2006/relationships/slideLayout" Target="../slideLayouts/slideLayout7.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36" Type="http://schemas.openxmlformats.org/officeDocument/2006/relationships/tags" Target="../tags/tag51.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tags" Target="../tags/tag46.xml"/><Relationship Id="rId44" Type="http://schemas.openxmlformats.org/officeDocument/2006/relationships/tags" Target="../tags/tag59.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tags" Target="../tags/tag45.xml"/><Relationship Id="rId35" Type="http://schemas.openxmlformats.org/officeDocument/2006/relationships/tags" Target="../tags/tag50.xml"/><Relationship Id="rId43" Type="http://schemas.openxmlformats.org/officeDocument/2006/relationships/tags" Target="../tags/tag58.xml"/><Relationship Id="rId48" Type="http://schemas.openxmlformats.org/officeDocument/2006/relationships/chart" Target="../charts/chart1.xml"/><Relationship Id="rId8" Type="http://schemas.openxmlformats.org/officeDocument/2006/relationships/tags" Target="../tags/tag23.xml"/><Relationship Id="rId3" Type="http://schemas.openxmlformats.org/officeDocument/2006/relationships/tags" Target="../tags/tag18.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tags" Target="../tags/tag48.xml"/><Relationship Id="rId38" Type="http://schemas.openxmlformats.org/officeDocument/2006/relationships/tags" Target="../tags/tag53.xml"/><Relationship Id="rId46" Type="http://schemas.openxmlformats.org/officeDocument/2006/relationships/oleObject" Target="../embeddings/oleObject8.bin"/><Relationship Id="rId20" Type="http://schemas.openxmlformats.org/officeDocument/2006/relationships/tags" Target="../tags/tag35.xml"/><Relationship Id="rId41" Type="http://schemas.openxmlformats.org/officeDocument/2006/relationships/tags" Target="../tags/tag56.xml"/></Relationships>
</file>

<file path=ppt/slides/_rels/slide17.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image" Target="../media/image17.emf"/><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oleObject" Target="../embeddings/oleObject9.bin"/><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notesSlide" Target="../notesSlides/notesSlide12.xml"/><Relationship Id="rId5" Type="http://schemas.openxmlformats.org/officeDocument/2006/relationships/tags" Target="../tags/tag64.xml"/><Relationship Id="rId15" Type="http://schemas.openxmlformats.org/officeDocument/2006/relationships/image" Target="../media/image18.emf"/><Relationship Id="rId10" Type="http://schemas.openxmlformats.org/officeDocument/2006/relationships/slideLayout" Target="../slideLayouts/slideLayout11.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4.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20.png"/><Relationship Id="rId3" Type="http://schemas.openxmlformats.org/officeDocument/2006/relationships/tags" Target="../tags/tag12.xml"/><Relationship Id="rId7" Type="http://schemas.openxmlformats.org/officeDocument/2006/relationships/image" Target="../media/image16.svg"/><Relationship Id="rId12"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5.png"/><Relationship Id="rId11" Type="http://schemas.openxmlformats.org/officeDocument/2006/relationships/image" Target="../media/image18.emf"/><Relationship Id="rId5" Type="http://schemas.openxmlformats.org/officeDocument/2006/relationships/notesSlide" Target="../notesSlides/notesSlide4.xml"/><Relationship Id="rId15" Type="http://schemas.openxmlformats.org/officeDocument/2006/relationships/image" Target="../media/image22.svg"/><Relationship Id="rId10" Type="http://schemas.openxmlformats.org/officeDocument/2006/relationships/oleObject" Target="../embeddings/oleObject4.bin"/><Relationship Id="rId4" Type="http://schemas.openxmlformats.org/officeDocument/2006/relationships/slideLayout" Target="../slideLayouts/slideLayout7.xml"/><Relationship Id="rId9" Type="http://schemas.openxmlformats.org/officeDocument/2006/relationships/image" Target="../media/image17.emf"/><Relationship Id="rId1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microsoft.com/office/2018/10/relationships/comments" Target="../comments/modernComment_7FFFF7E4_7F19EFAE.xml"/><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91.png"/><Relationship Id="rId5" Type="http://schemas.microsoft.com/office/2014/relationships/chartEx" Target="../charts/chartEx1.xml"/><Relationship Id="rId4" Type="http://schemas.openxmlformats.org/officeDocument/2006/relationships/image" Target="../media/image25.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14.emf"/><Relationship Id="rId5" Type="http://schemas.openxmlformats.org/officeDocument/2006/relationships/oleObject" Target="../embeddings/oleObject6.bin"/><Relationship Id="rId4" Type="http://schemas.microsoft.com/office/2018/10/relationships/comments" Target="../comments/modernComment_7FFFF7EC_E4BCCA82.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37C73E8-7B42-B8BF-B291-62AE179192E7}"/>
              </a:ext>
            </a:extLst>
          </p:cNvPr>
          <p:cNvSpPr>
            <a:spLocks noGrp="1"/>
          </p:cNvSpPr>
          <p:nvPr>
            <p:ph type="subTitle" idx="1"/>
          </p:nvPr>
        </p:nvSpPr>
        <p:spPr/>
        <p:txBody>
          <a:bodyPr vert="horz" lIns="91440" tIns="45720" rIns="91440" bIns="45720" rtlCol="0" anchor="t">
            <a:normAutofit/>
          </a:bodyPr>
          <a:lstStyle/>
          <a:p>
            <a:r>
              <a:rPr lang="en-US" dirty="0">
                <a:latin typeface="Avenir Book"/>
              </a:rPr>
              <a:t>The Office of Manufacturing and Energy Supply Chains</a:t>
            </a:r>
          </a:p>
          <a:p>
            <a:r>
              <a:rPr lang="en-US" sz="2400" i="1" dirty="0">
                <a:latin typeface="Avenir Book"/>
              </a:rPr>
              <a:t>US DRIVE Overview</a:t>
            </a:r>
          </a:p>
          <a:p>
            <a:r>
              <a:rPr lang="en-US" sz="2400" i="1" dirty="0">
                <a:latin typeface="Avenir Book"/>
              </a:rPr>
              <a:t>October 21, 2024</a:t>
            </a:r>
            <a:endParaRPr lang="en-US" sz="2400" i="1" dirty="0"/>
          </a:p>
        </p:txBody>
      </p:sp>
      <p:sp>
        <p:nvSpPr>
          <p:cNvPr id="3" name="Text Placeholder 2">
            <a:extLst>
              <a:ext uri="{FF2B5EF4-FFF2-40B4-BE49-F238E27FC236}">
                <a16:creationId xmlns:a16="http://schemas.microsoft.com/office/drawing/2014/main" id="{8738BB13-FAAE-1E2D-18E9-05AC5E81BE77}"/>
              </a:ext>
            </a:extLst>
          </p:cNvPr>
          <p:cNvSpPr>
            <a:spLocks noGrp="1"/>
          </p:cNvSpPr>
          <p:nvPr>
            <p:ph type="body" sz="quarter" idx="10"/>
          </p:nvPr>
        </p:nvSpPr>
        <p:spPr/>
        <p:txBody>
          <a:bodyPr vert="horz" lIns="91440" tIns="45720" rIns="91440" bIns="45720" rtlCol="0" anchor="t">
            <a:noAutofit/>
          </a:bodyPr>
          <a:lstStyle/>
          <a:p>
            <a:r>
              <a:rPr lang="en-US" sz="1500" dirty="0">
                <a:solidFill>
                  <a:srgbClr val="262626"/>
                </a:solidFill>
                <a:latin typeface="+mn-lt"/>
              </a:rPr>
              <a:t>Stephanie Jennings</a:t>
            </a:r>
          </a:p>
          <a:p>
            <a:r>
              <a:rPr lang="en-US" sz="1500" b="0" i="1" dirty="0">
                <a:solidFill>
                  <a:srgbClr val="262626"/>
                </a:solidFill>
                <a:effectLst/>
                <a:latin typeface="+mn-lt"/>
              </a:rPr>
              <a:t>Supply Chain Deployment Manager </a:t>
            </a:r>
          </a:p>
          <a:p>
            <a:endParaRPr lang="en-US" sz="1500" b="0" i="1" dirty="0">
              <a:latin typeface="+mn-lt"/>
            </a:endParaRPr>
          </a:p>
        </p:txBody>
      </p:sp>
    </p:spTree>
    <p:extLst>
      <p:ext uri="{BB962C8B-B14F-4D97-AF65-F5344CB8AC3E}">
        <p14:creationId xmlns:p14="http://schemas.microsoft.com/office/powerpoint/2010/main" val="380204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77C82-4E4C-592C-FC36-45889B198E83}"/>
            </a:ext>
          </a:extLst>
        </p:cNvPr>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991CA4A7-9E4D-07C8-1E61-E71649345471}"/>
              </a:ext>
            </a:extLst>
          </p:cNvPr>
          <p:cNvGraphicFramePr>
            <a:graphicFrameLocks noGrp="1"/>
          </p:cNvGraphicFramePr>
          <p:nvPr>
            <p:ph idx="1"/>
            <p:extLst>
              <p:ext uri="{D42A27DB-BD31-4B8C-83A1-F6EECF244321}">
                <p14:modId xmlns:p14="http://schemas.microsoft.com/office/powerpoint/2010/main" val="3650257351"/>
              </p:ext>
            </p:extLst>
          </p:nvPr>
        </p:nvGraphicFramePr>
        <p:xfrm>
          <a:off x="400050" y="977462"/>
          <a:ext cx="11210925" cy="47073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57044395-EA5F-6406-EE2A-B30B25DE0C7F}"/>
              </a:ext>
            </a:extLst>
          </p:cNvPr>
          <p:cNvSpPr>
            <a:spLocks noGrp="1"/>
          </p:cNvSpPr>
          <p:nvPr>
            <p:ph type="title"/>
          </p:nvPr>
        </p:nvSpPr>
        <p:spPr>
          <a:xfrm>
            <a:off x="385184" y="281630"/>
            <a:ext cx="10866964" cy="430887"/>
          </a:xfrm>
        </p:spPr>
        <p:txBody>
          <a:bodyPr/>
          <a:lstStyle/>
          <a:p>
            <a:r>
              <a:rPr lang="en-US" sz="2800" dirty="0"/>
              <a:t>IRA 50143: Domestic Conversion Grants Program – State Partnerships </a:t>
            </a:r>
            <a:endParaRPr lang="en-US" sz="2800" u="sng" dirty="0">
              <a:solidFill>
                <a:schemeClr val="tx1"/>
              </a:solidFill>
            </a:endParaRPr>
          </a:p>
        </p:txBody>
      </p:sp>
    </p:spTree>
    <p:extLst>
      <p:ext uri="{BB962C8B-B14F-4D97-AF65-F5344CB8AC3E}">
        <p14:creationId xmlns:p14="http://schemas.microsoft.com/office/powerpoint/2010/main" val="39276726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51A2BA4-DAB4-83AF-901F-7B485939D0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51A2BA4-DAB4-83AF-901F-7B485939D0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C2FF86B-83C6-8B31-DB48-BA01A1889FCC}"/>
              </a:ext>
            </a:extLst>
          </p:cNvPr>
          <p:cNvSpPr/>
          <p:nvPr/>
        </p:nvSpPr>
        <p:spPr>
          <a:xfrm>
            <a:off x="1339739" y="2565876"/>
            <a:ext cx="2567243" cy="3049835"/>
          </a:xfrm>
          <a:prstGeom prst="rect">
            <a:avLst/>
          </a:prstGeom>
          <a:solidFill>
            <a:srgbClr val="FFFFFF"/>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572BCE60-68B7-171C-7679-EBDA40CB3075}"/>
              </a:ext>
            </a:extLst>
          </p:cNvPr>
          <p:cNvSpPr/>
          <p:nvPr/>
        </p:nvSpPr>
        <p:spPr>
          <a:xfrm>
            <a:off x="1210430" y="2455039"/>
            <a:ext cx="2567243" cy="3049835"/>
          </a:xfrm>
          <a:prstGeom prst="rect">
            <a:avLst/>
          </a:prstGeom>
          <a:solidFill>
            <a:srgbClr val="FFFFFF"/>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dirty="0">
              <a:solidFill>
                <a:schemeClr val="tx1"/>
              </a:solidFill>
            </a:endParaRPr>
          </a:p>
        </p:txBody>
      </p:sp>
      <p:sp>
        <p:nvSpPr>
          <p:cNvPr id="3" name="Title 2">
            <a:extLst>
              <a:ext uri="{FF2B5EF4-FFF2-40B4-BE49-F238E27FC236}">
                <a16:creationId xmlns:a16="http://schemas.microsoft.com/office/drawing/2014/main" id="{68AA0D14-52B4-8911-9545-383E41E92506}"/>
              </a:ext>
            </a:extLst>
          </p:cNvPr>
          <p:cNvSpPr>
            <a:spLocks noGrp="1"/>
          </p:cNvSpPr>
          <p:nvPr>
            <p:ph type="title"/>
          </p:nvPr>
        </p:nvSpPr>
        <p:spPr>
          <a:xfrm>
            <a:off x="385184" y="281630"/>
            <a:ext cx="10866964" cy="923330"/>
          </a:xfrm>
        </p:spPr>
        <p:txBody>
          <a:bodyPr vert="horz"/>
          <a:lstStyle/>
          <a:p>
            <a:r>
              <a:rPr lang="en-US" dirty="0"/>
              <a:t>BIL 40521: Industrial Training and Assessment Centers – Small Supplier EV Transition Playbook</a:t>
            </a:r>
          </a:p>
        </p:txBody>
      </p:sp>
      <p:sp>
        <p:nvSpPr>
          <p:cNvPr id="4" name="Slide Number Placeholder 3">
            <a:extLst>
              <a:ext uri="{FF2B5EF4-FFF2-40B4-BE49-F238E27FC236}">
                <a16:creationId xmlns:a16="http://schemas.microsoft.com/office/drawing/2014/main" id="{7956D1ED-B7CA-8307-4411-9E1D2BDCBD6C}"/>
              </a:ext>
            </a:extLst>
          </p:cNvPr>
          <p:cNvSpPr>
            <a:spLocks noGrp="1"/>
          </p:cNvSpPr>
          <p:nvPr>
            <p:ph type="sldNum" sz="quarter" idx="4294967295"/>
          </p:nvPr>
        </p:nvSpPr>
        <p:spPr>
          <a:xfrm>
            <a:off x="0" y="6530975"/>
            <a:ext cx="508000" cy="153988"/>
          </a:xfrm>
        </p:spPr>
        <p:txBody>
          <a:bodyPr/>
          <a:lstStyle/>
          <a:p>
            <a:fld id="{02B5F485-982A-41B4-B657-C5770F0E9220}" type="slidenum">
              <a:rPr lang="en-US" smtClean="0"/>
              <a:pPr/>
              <a:t>11</a:t>
            </a:fld>
            <a:endParaRPr lang="en-US"/>
          </a:p>
        </p:txBody>
      </p:sp>
      <p:sp>
        <p:nvSpPr>
          <p:cNvPr id="23" name="Rectangle 22">
            <a:extLst>
              <a:ext uri="{FF2B5EF4-FFF2-40B4-BE49-F238E27FC236}">
                <a16:creationId xmlns:a16="http://schemas.microsoft.com/office/drawing/2014/main" id="{1FF1E658-9EAA-3FC8-3BFC-EE827150B58C}"/>
              </a:ext>
            </a:extLst>
          </p:cNvPr>
          <p:cNvSpPr/>
          <p:nvPr/>
        </p:nvSpPr>
        <p:spPr>
          <a:xfrm>
            <a:off x="1081121" y="2344202"/>
            <a:ext cx="2567243" cy="3049835"/>
          </a:xfrm>
          <a:prstGeom prst="rect">
            <a:avLst/>
          </a:prstGeom>
          <a:solidFill>
            <a:srgbClr val="FFFFFF"/>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dirty="0">
              <a:solidFill>
                <a:schemeClr val="tx1"/>
              </a:solidFill>
            </a:endParaRPr>
          </a:p>
        </p:txBody>
      </p:sp>
      <p:sp>
        <p:nvSpPr>
          <p:cNvPr id="20" name="Rectangle 19">
            <a:extLst>
              <a:ext uri="{FF2B5EF4-FFF2-40B4-BE49-F238E27FC236}">
                <a16:creationId xmlns:a16="http://schemas.microsoft.com/office/drawing/2014/main" id="{01E2D751-B53C-6733-F01F-6F26952705E2}"/>
              </a:ext>
            </a:extLst>
          </p:cNvPr>
          <p:cNvSpPr/>
          <p:nvPr/>
        </p:nvSpPr>
        <p:spPr>
          <a:xfrm>
            <a:off x="951812" y="2233365"/>
            <a:ext cx="2567243" cy="3049835"/>
          </a:xfrm>
          <a:prstGeom prst="rect">
            <a:avLst/>
          </a:prstGeom>
          <a:solidFill>
            <a:srgbClr val="FFFFFF"/>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br>
              <a:rPr lang="en-US" dirty="0">
                <a:solidFill>
                  <a:schemeClr val="tx1"/>
                </a:solidFill>
              </a:rPr>
            </a:br>
            <a:r>
              <a:rPr lang="en-US" dirty="0">
                <a:solidFill>
                  <a:schemeClr val="tx1"/>
                </a:solidFill>
              </a:rPr>
              <a:t>EV/Clean energy conversion and diversification</a:t>
            </a:r>
          </a:p>
        </p:txBody>
      </p:sp>
      <p:pic>
        <p:nvPicPr>
          <p:cNvPr id="22" name="Graphic 21" descr="Playbook with solid fill">
            <a:extLst>
              <a:ext uri="{FF2B5EF4-FFF2-40B4-BE49-F238E27FC236}">
                <a16:creationId xmlns:a16="http://schemas.microsoft.com/office/drawing/2014/main" id="{DF78B433-A8AB-5718-93E2-EB4AB76A590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54778" y="3213570"/>
            <a:ext cx="2022531" cy="2022531"/>
          </a:xfrm>
          <a:prstGeom prst="rect">
            <a:avLst/>
          </a:prstGeom>
        </p:spPr>
      </p:pic>
      <p:sp>
        <p:nvSpPr>
          <p:cNvPr id="27" name="TextBox 26">
            <a:extLst>
              <a:ext uri="{FF2B5EF4-FFF2-40B4-BE49-F238E27FC236}">
                <a16:creationId xmlns:a16="http://schemas.microsoft.com/office/drawing/2014/main" id="{9EF5C233-9B8A-80DB-166F-E7CD46A59C10}"/>
              </a:ext>
            </a:extLst>
          </p:cNvPr>
          <p:cNvSpPr txBox="1"/>
          <p:nvPr/>
        </p:nvSpPr>
        <p:spPr>
          <a:xfrm>
            <a:off x="580792" y="1539935"/>
            <a:ext cx="3567900" cy="646331"/>
          </a:xfrm>
          <a:prstGeom prst="rect">
            <a:avLst/>
          </a:prstGeom>
          <a:noFill/>
        </p:spPr>
        <p:txBody>
          <a:bodyPr wrap="square">
            <a:spAutoFit/>
          </a:bodyPr>
          <a:lstStyle/>
          <a:p>
            <a:pPr algn="ctr"/>
            <a:r>
              <a:rPr lang="en-US" b="1" dirty="0">
                <a:solidFill>
                  <a:schemeClr val="tx1"/>
                </a:solidFill>
              </a:rPr>
              <a:t>Expected public release: Late 2024 / early 2025</a:t>
            </a:r>
            <a:endParaRPr lang="en-US" b="1" dirty="0"/>
          </a:p>
        </p:txBody>
      </p:sp>
      <p:sp>
        <p:nvSpPr>
          <p:cNvPr id="29" name="TextBox 28">
            <a:extLst>
              <a:ext uri="{FF2B5EF4-FFF2-40B4-BE49-F238E27FC236}">
                <a16:creationId xmlns:a16="http://schemas.microsoft.com/office/drawing/2014/main" id="{07C34634-6732-F752-3CDA-8434E9E2A6A9}"/>
              </a:ext>
            </a:extLst>
          </p:cNvPr>
          <p:cNvSpPr txBox="1"/>
          <p:nvPr/>
        </p:nvSpPr>
        <p:spPr>
          <a:xfrm>
            <a:off x="4204344" y="1238242"/>
            <a:ext cx="7694957" cy="2462213"/>
          </a:xfrm>
          <a:prstGeom prst="rect">
            <a:avLst/>
          </a:prstGeom>
          <a:noFill/>
        </p:spPr>
        <p:txBody>
          <a:bodyPr wrap="square">
            <a:spAutoFit/>
          </a:bodyPr>
          <a:lstStyle/>
          <a:p>
            <a:pPr>
              <a:spcBef>
                <a:spcPts val="600"/>
              </a:spcBef>
            </a:pPr>
            <a:r>
              <a:rPr lang="en-US" sz="1600" b="1" dirty="0"/>
              <a:t>MESC and Argonne National Laboratory developed a small supplier EV transition playbook. </a:t>
            </a:r>
            <a:r>
              <a:rPr lang="en-US" sz="1600" b="1" dirty="0">
                <a:solidFill>
                  <a:schemeClr val="tx1"/>
                </a:solidFill>
              </a:rPr>
              <a:t>The playbook </a:t>
            </a:r>
            <a:r>
              <a:rPr lang="en-US" sz="1600" b="1" dirty="0"/>
              <a:t>covers</a:t>
            </a:r>
            <a:r>
              <a:rPr lang="en-US" sz="1600" b="1" dirty="0">
                <a:solidFill>
                  <a:schemeClr val="tx1"/>
                </a:solidFill>
              </a:rPr>
              <a:t> several topics:</a:t>
            </a:r>
            <a:endParaRPr lang="en-US" sz="1600" dirty="0">
              <a:solidFill>
                <a:schemeClr val="tx1"/>
              </a:solidFill>
            </a:endParaRPr>
          </a:p>
          <a:p>
            <a:pPr marL="285750" indent="-285750">
              <a:spcBef>
                <a:spcPts val="600"/>
              </a:spcBef>
              <a:buFont typeface="Arial" panose="020B0604020202020204" pitchFamily="34" charset="0"/>
              <a:buChar char="•"/>
            </a:pPr>
            <a:r>
              <a:rPr lang="en-US" sz="1600" dirty="0">
                <a:solidFill>
                  <a:schemeClr val="tx1"/>
                </a:solidFill>
              </a:rPr>
              <a:t>Which internal combustion vehicle products face greater tailwinds and headwinds in the clean energy transition</a:t>
            </a:r>
          </a:p>
          <a:p>
            <a:pPr marL="285750" indent="-285750">
              <a:spcBef>
                <a:spcPts val="600"/>
              </a:spcBef>
              <a:buFont typeface="Arial" panose="020B0604020202020204" pitchFamily="34" charset="0"/>
              <a:buChar char="•"/>
            </a:pPr>
            <a:r>
              <a:rPr lang="en-US" sz="1600" dirty="0">
                <a:solidFill>
                  <a:schemeClr val="tx1"/>
                </a:solidFill>
              </a:rPr>
              <a:t>Possible EV/clean energy market opportunities, and how to identify others</a:t>
            </a:r>
          </a:p>
          <a:p>
            <a:pPr marL="285750" indent="-285750">
              <a:spcBef>
                <a:spcPts val="600"/>
              </a:spcBef>
              <a:buFont typeface="Arial" panose="020B0604020202020204" pitchFamily="34" charset="0"/>
              <a:buChar char="•"/>
            </a:pPr>
            <a:r>
              <a:rPr lang="en-US" sz="1600" dirty="0">
                <a:solidFill>
                  <a:schemeClr val="tx1"/>
                </a:solidFill>
              </a:rPr>
              <a:t>Approaches to prioritizing and pursuing new market opportunities</a:t>
            </a:r>
          </a:p>
          <a:p>
            <a:pPr marL="285750" indent="-285750">
              <a:spcBef>
                <a:spcPts val="600"/>
              </a:spcBef>
              <a:buFont typeface="Arial" panose="020B0604020202020204" pitchFamily="34" charset="0"/>
              <a:buChar char="•"/>
            </a:pPr>
            <a:r>
              <a:rPr lang="en-US" sz="1600" dirty="0"/>
              <a:t>Operational considerations, including financing, workforce, new certifications/standards requirements, etc.</a:t>
            </a:r>
            <a:endParaRPr lang="en-US" sz="1600" dirty="0">
              <a:solidFill>
                <a:schemeClr val="tx1"/>
              </a:solidFill>
            </a:endParaRPr>
          </a:p>
        </p:txBody>
      </p:sp>
      <p:graphicFrame>
        <p:nvGraphicFramePr>
          <p:cNvPr id="5" name="Table 4">
            <a:extLst>
              <a:ext uri="{FF2B5EF4-FFF2-40B4-BE49-F238E27FC236}">
                <a16:creationId xmlns:a16="http://schemas.microsoft.com/office/drawing/2014/main" id="{9BEB2D69-FB5F-D878-7A59-DB1EB54D0204}"/>
              </a:ext>
            </a:extLst>
          </p:cNvPr>
          <p:cNvGraphicFramePr>
            <a:graphicFrameLocks noGrp="1"/>
          </p:cNvGraphicFramePr>
          <p:nvPr>
            <p:extLst>
              <p:ext uri="{D42A27DB-BD31-4B8C-83A1-F6EECF244321}">
                <p14:modId xmlns:p14="http://schemas.microsoft.com/office/powerpoint/2010/main" val="2374191217"/>
              </p:ext>
            </p:extLst>
          </p:nvPr>
        </p:nvGraphicFramePr>
        <p:xfrm>
          <a:off x="4204344" y="3603214"/>
          <a:ext cx="7529546" cy="2772910"/>
        </p:xfrm>
        <a:graphic>
          <a:graphicData uri="http://schemas.openxmlformats.org/drawingml/2006/table">
            <a:tbl>
              <a:tblPr firstRow="1" bandRow="1">
                <a:tableStyleId>{5C22544A-7EE6-4342-B048-85BDC9FD1C3A}</a:tableStyleId>
              </a:tblPr>
              <a:tblGrid>
                <a:gridCol w="938399">
                  <a:extLst>
                    <a:ext uri="{9D8B030D-6E8A-4147-A177-3AD203B41FA5}">
                      <a16:colId xmlns:a16="http://schemas.microsoft.com/office/drawing/2014/main" val="968247269"/>
                    </a:ext>
                  </a:extLst>
                </a:gridCol>
                <a:gridCol w="6591147">
                  <a:extLst>
                    <a:ext uri="{9D8B030D-6E8A-4147-A177-3AD203B41FA5}">
                      <a16:colId xmlns:a16="http://schemas.microsoft.com/office/drawing/2014/main" val="3418873349"/>
                    </a:ext>
                  </a:extLst>
                </a:gridCol>
              </a:tblGrid>
              <a:tr h="568265">
                <a:tc gridSpan="2">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dirty="0">
                          <a:solidFill>
                            <a:sysClr val="windowText" lastClr="000000"/>
                          </a:solidFill>
                        </a:rPr>
                        <a:t>$1.5 million in funding awarded to interdisciplinary ITAC teams to deploy and refine playbook:</a:t>
                      </a:r>
                    </a:p>
                  </a:txBody>
                  <a:tcPr>
                    <a:noFill/>
                  </a:tcPr>
                </a:tc>
                <a:tc hMerge="1">
                  <a:txBody>
                    <a:bodyPr/>
                    <a:lstStyle/>
                    <a:p>
                      <a:endParaRPr lang="en-US" dirty="0"/>
                    </a:p>
                  </a:txBody>
                  <a:tcPr/>
                </a:tc>
                <a:extLst>
                  <a:ext uri="{0D108BD9-81ED-4DB2-BD59-A6C34878D82A}">
                    <a16:rowId xmlns:a16="http://schemas.microsoft.com/office/drawing/2014/main" val="910868394"/>
                  </a:ext>
                </a:extLst>
              </a:tr>
              <a:tr h="799344">
                <a:tc>
                  <a:txBody>
                    <a:bodyPr/>
                    <a:lstStyle/>
                    <a:p>
                      <a:endParaRPr lang="en-US" sz="1600" dirty="0"/>
                    </a:p>
                  </a:txBody>
                  <a:tcPr>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t>Purdue University Manufacturing Extension Partnership + Conexus Indiana</a:t>
                      </a:r>
                    </a:p>
                  </a:txBody>
                  <a:tcPr>
                    <a:noFill/>
                  </a:tcPr>
                </a:tc>
                <a:extLst>
                  <a:ext uri="{0D108BD9-81ED-4DB2-BD59-A6C34878D82A}">
                    <a16:rowId xmlns:a16="http://schemas.microsoft.com/office/drawing/2014/main" val="448893401"/>
                  </a:ext>
                </a:extLst>
              </a:tr>
              <a:tr h="568265">
                <a:tc>
                  <a:txBody>
                    <a:bodyPr/>
                    <a:lstStyle/>
                    <a:p>
                      <a:endParaRPr lang="en-US" sz="1600" dirty="0"/>
                    </a:p>
                  </a:txBody>
                  <a:tcPr>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t>University of Michigan and Michigan State ITAC</a:t>
                      </a:r>
                    </a:p>
                    <a:p>
                      <a:endParaRPr lang="en-US" sz="1600" dirty="0"/>
                    </a:p>
                  </a:txBody>
                  <a:tcPr>
                    <a:noFill/>
                  </a:tcPr>
                </a:tc>
                <a:extLst>
                  <a:ext uri="{0D108BD9-81ED-4DB2-BD59-A6C34878D82A}">
                    <a16:rowId xmlns:a16="http://schemas.microsoft.com/office/drawing/2014/main" val="1286267612"/>
                  </a:ext>
                </a:extLst>
              </a:tr>
              <a:tr h="815326">
                <a:tc>
                  <a:txBody>
                    <a:bodyPr/>
                    <a:lstStyle/>
                    <a:p>
                      <a:endParaRPr lang="en-US" sz="1600" dirty="0"/>
                    </a:p>
                  </a:txBody>
                  <a:tcPr>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t>UI-Chicago ITAC, Argonne National Lab, Illinois Manufacturers Association, Midwest Energy Efficiency Alliance</a:t>
                      </a:r>
                    </a:p>
                  </a:txBody>
                  <a:tcPr>
                    <a:noFill/>
                  </a:tcPr>
                </a:tc>
                <a:extLst>
                  <a:ext uri="{0D108BD9-81ED-4DB2-BD59-A6C34878D82A}">
                    <a16:rowId xmlns:a16="http://schemas.microsoft.com/office/drawing/2014/main" val="3543718293"/>
                  </a:ext>
                </a:extLst>
              </a:tr>
            </a:tbl>
          </a:graphicData>
        </a:graphic>
      </p:graphicFrame>
      <p:pic>
        <p:nvPicPr>
          <p:cNvPr id="7" name="Picture 2" descr="Purdue University — Regional Admissions Counselors of California">
            <a:extLst>
              <a:ext uri="{FF2B5EF4-FFF2-40B4-BE49-F238E27FC236}">
                <a16:creationId xmlns:a16="http://schemas.microsoft.com/office/drawing/2014/main" id="{D10C9ECF-9378-04EF-3431-23159E1EAB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51422" y="8261235"/>
            <a:ext cx="792398" cy="79239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7E1D7548-5C08-569E-C89B-4CFCE1ED37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01439" y="4917190"/>
            <a:ext cx="636732" cy="459136"/>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University of Illinois Chicago - Wikipedia">
            <a:extLst>
              <a:ext uri="{FF2B5EF4-FFF2-40B4-BE49-F238E27FC236}">
                <a16:creationId xmlns:a16="http://schemas.microsoft.com/office/drawing/2014/main" id="{67C1B8E9-6F55-197C-43A6-6FD80243046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01439" y="5523509"/>
            <a:ext cx="705432" cy="70543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Purdue University — Regional Admissions Counselors of California">
            <a:extLst>
              <a:ext uri="{FF2B5EF4-FFF2-40B4-BE49-F238E27FC236}">
                <a16:creationId xmlns:a16="http://schemas.microsoft.com/office/drawing/2014/main" id="{C6D0B7EF-AA38-A891-02B6-A093E7FC76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67089" y="4135722"/>
            <a:ext cx="705432" cy="7054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931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28079B96-C96B-B9A5-F3F1-EEC6621FEF3B}"/>
              </a:ext>
            </a:extLst>
          </p:cNvPr>
          <p:cNvSpPr txBox="1"/>
          <p:nvPr/>
        </p:nvSpPr>
        <p:spPr>
          <a:xfrm>
            <a:off x="385184" y="885160"/>
            <a:ext cx="5486400"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 name="Title 10">
            <a:extLst>
              <a:ext uri="{FF2B5EF4-FFF2-40B4-BE49-F238E27FC236}">
                <a16:creationId xmlns:a16="http://schemas.microsoft.com/office/drawing/2014/main" id="{2E497F07-A232-DF23-361D-392ABC3AEC9B}"/>
              </a:ext>
            </a:extLst>
          </p:cNvPr>
          <p:cNvSpPr>
            <a:spLocks noGrp="1"/>
          </p:cNvSpPr>
          <p:nvPr>
            <p:ph type="title"/>
          </p:nvPr>
        </p:nvSpPr>
        <p:spPr/>
        <p:txBody>
          <a:bodyPr/>
          <a:lstStyle/>
          <a:p>
            <a:r>
              <a:rPr lang="en-US" dirty="0"/>
              <a:t>Qualifying Advanced Energy Credit (48C) Overview</a:t>
            </a:r>
          </a:p>
        </p:txBody>
      </p:sp>
      <p:sp>
        <p:nvSpPr>
          <p:cNvPr id="13" name="TextBox 12">
            <a:extLst>
              <a:ext uri="{FF2B5EF4-FFF2-40B4-BE49-F238E27FC236}">
                <a16:creationId xmlns:a16="http://schemas.microsoft.com/office/drawing/2014/main" id="{79D92F60-6D64-61B3-B88B-E96355DD58D9}"/>
              </a:ext>
            </a:extLst>
          </p:cNvPr>
          <p:cNvSpPr txBox="1"/>
          <p:nvPr/>
        </p:nvSpPr>
        <p:spPr>
          <a:xfrm>
            <a:off x="6231527" y="885160"/>
            <a:ext cx="5494989" cy="369332"/>
          </a:xfrm>
          <a:prstGeom prst="rect">
            <a:avLst/>
          </a:prstGeom>
          <a:no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4" name="Content Placeholder 7">
            <a:extLst>
              <a:ext uri="{FF2B5EF4-FFF2-40B4-BE49-F238E27FC236}">
                <a16:creationId xmlns:a16="http://schemas.microsoft.com/office/drawing/2014/main" id="{AA9D175D-BC75-6BE6-FFFB-C0867B36CC63}"/>
              </a:ext>
            </a:extLst>
          </p:cNvPr>
          <p:cNvSpPr txBox="1">
            <a:spLocks/>
          </p:cNvSpPr>
          <p:nvPr/>
        </p:nvSpPr>
        <p:spPr>
          <a:xfrm>
            <a:off x="6240117" y="1576214"/>
            <a:ext cx="5486399" cy="419010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spcAft>
                <a:spcPts val="0"/>
              </a:spcAft>
              <a:buClrTx/>
              <a:buFont typeface="Arial" panose="020B0604020202020204" pitchFamily="34" charset="0"/>
              <a:buChar char="•"/>
              <a:defRPr sz="280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spcAft>
                <a:spcPts val="0"/>
              </a:spcAft>
              <a:buFont typeface="Arial" panose="020B0604020202020204" pitchFamily="34" charset="0"/>
              <a:buChar char="•"/>
              <a:defRPr sz="240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spcAft>
                <a:spcPts val="0"/>
              </a:spcAft>
              <a:buFont typeface="Arial" panose="020B0604020202020204" pitchFamily="34" charset="0"/>
              <a:buChar char="•"/>
              <a:defRPr sz="200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spcAft>
                <a:spcPts val="0"/>
              </a:spcAft>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spcAft>
                <a:spcPts val="0"/>
              </a:spcAft>
              <a:buFont typeface="Arial" panose="020B0604020202020204" pitchFamily="34" charset="0"/>
              <a:buChar char="•"/>
              <a:defRPr sz="180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925"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Open to </a:t>
            </a:r>
            <a:r>
              <a:rPr kumimoji="0" lang="en-US" sz="1600" b="1" i="0" u="none" strike="noStrike" kern="1200" cap="none" spc="0" normalizeH="0" baseline="0" noProof="0">
                <a:ln>
                  <a:noFill/>
                </a:ln>
                <a:solidFill>
                  <a:srgbClr val="000000"/>
                </a:solidFill>
                <a:effectLst/>
                <a:uLnTx/>
                <a:uFillTx/>
                <a:latin typeface="Calibri"/>
                <a:ea typeface="Calibri"/>
                <a:cs typeface="Calibri"/>
              </a:rPr>
              <a:t>all project sizes</a:t>
            </a:r>
            <a:endParaRPr kumimoji="0" lang="en-US" sz="1600" b="0" i="0" u="none" strike="noStrike" kern="1200" cap="none" spc="0" normalizeH="0" baseline="0" noProof="0">
              <a:ln>
                <a:noFill/>
              </a:ln>
              <a:solidFill>
                <a:srgbClr val="000000"/>
              </a:solidFill>
              <a:effectLst/>
              <a:uLnTx/>
              <a:uFillTx/>
              <a:latin typeface="Calibri"/>
              <a:ea typeface="Calibri"/>
              <a:cs typeface="Calibri"/>
            </a:endParaRPr>
          </a:p>
          <a:p>
            <a:pPr marL="288925"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DOE will </a:t>
            </a:r>
            <a:r>
              <a:rPr kumimoji="0" lang="en-US" sz="1600" b="1" i="0" u="none" strike="noStrike" kern="1200" cap="none" spc="0" normalizeH="0" baseline="0" noProof="0">
                <a:ln>
                  <a:noFill/>
                </a:ln>
                <a:solidFill>
                  <a:srgbClr val="000000"/>
                </a:solidFill>
                <a:effectLst/>
                <a:uLnTx/>
                <a:uFillTx/>
                <a:latin typeface="Calibri"/>
                <a:ea typeface="Calibri"/>
                <a:cs typeface="Calibri"/>
              </a:rPr>
              <a:t>not predetermine funding </a:t>
            </a:r>
            <a:r>
              <a:rPr kumimoji="0" lang="en-US" sz="1600" b="0" i="0" u="none" strike="noStrike" kern="1200" cap="none" spc="0" normalizeH="0" baseline="0" noProof="0">
                <a:ln>
                  <a:noFill/>
                </a:ln>
                <a:solidFill>
                  <a:srgbClr val="000000"/>
                </a:solidFill>
                <a:effectLst/>
                <a:uLnTx/>
                <a:uFillTx/>
                <a:latin typeface="Calibri"/>
                <a:ea typeface="Calibri"/>
                <a:cs typeface="Calibri"/>
              </a:rPr>
              <a:t>allocated to each category</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288925"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Applicants who did not receive an allocation in Round 1 are </a:t>
            </a:r>
            <a:r>
              <a:rPr kumimoji="0" lang="en-US" sz="1600" b="1" i="0" u="none" strike="noStrike" kern="1200" cap="none" spc="0" normalizeH="0" baseline="0" noProof="0">
                <a:ln>
                  <a:noFill/>
                </a:ln>
                <a:solidFill>
                  <a:srgbClr val="000000"/>
                </a:solidFill>
                <a:effectLst/>
                <a:uLnTx/>
                <a:uFillTx/>
                <a:latin typeface="Calibri"/>
                <a:ea typeface="Calibri"/>
                <a:cs typeface="Calibri"/>
              </a:rPr>
              <a:t>eligible to apply in Round 2</a:t>
            </a:r>
            <a:endParaRPr lang="en-US" sz="1600" b="1" i="0" u="none" strike="noStrike" kern="1200" cap="none" spc="0" normalizeH="0" baseline="0" noProof="0">
              <a:ln>
                <a:noFill/>
              </a:ln>
              <a:solidFill>
                <a:srgbClr val="000000"/>
              </a:solidFill>
              <a:effectLst/>
              <a:uLnTx/>
              <a:uFillTx/>
              <a:latin typeface="Calibri"/>
              <a:ea typeface="Calibri"/>
              <a:cs typeface="Calibri"/>
            </a:endParaRPr>
          </a:p>
          <a:p>
            <a:pPr marL="60325"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a:endParaRPr>
          </a:p>
          <a:p>
            <a:pPr marL="288925"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 name="Content Placeholder 7">
            <a:extLst>
              <a:ext uri="{FF2B5EF4-FFF2-40B4-BE49-F238E27FC236}">
                <a16:creationId xmlns:a16="http://schemas.microsoft.com/office/drawing/2014/main" id="{4BE92ED6-4FF6-77C4-74A5-3F4D72564854}"/>
              </a:ext>
            </a:extLst>
          </p:cNvPr>
          <p:cNvSpPr txBox="1">
            <a:spLocks/>
          </p:cNvSpPr>
          <p:nvPr/>
        </p:nvSpPr>
        <p:spPr>
          <a:xfrm>
            <a:off x="393751" y="1592559"/>
            <a:ext cx="5605527" cy="419010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spcAft>
                <a:spcPts val="0"/>
              </a:spcAft>
              <a:buClr>
                <a:schemeClr val="tx2"/>
              </a:buClr>
              <a:buFont typeface="Arial" panose="020B0604020202020204" pitchFamily="34" charset="0"/>
              <a:buChar char="•"/>
              <a:defRPr sz="28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spcAft>
                <a:spcPts val="0"/>
              </a:spcAft>
              <a:buClr>
                <a:schemeClr val="tx2"/>
              </a:buClr>
              <a:buFont typeface="Arial" panose="020B0604020202020204" pitchFamily="34" charset="0"/>
              <a:buChar char="•"/>
              <a:defRPr sz="2400" b="0" i="0" kern="1200">
                <a:solidFill>
                  <a:schemeClr val="tx1"/>
                </a:solidFill>
                <a:latin typeface="Franklin Gothic Book" panose="020B0503020102020204" pitchFamily="34" charset="0"/>
                <a:ea typeface="+mn-ea"/>
                <a:cs typeface="+mn-cs"/>
              </a:defRPr>
            </a:lvl2pPr>
            <a:lvl3pPr marL="1143000" indent="-228600" algn="l" defTabSz="914400" rtl="0" eaLnBrk="1" latinLnBrk="0" hangingPunct="1">
              <a:lnSpc>
                <a:spcPct val="90000"/>
              </a:lnSpc>
              <a:spcBef>
                <a:spcPts val="500"/>
              </a:spcBef>
              <a:spcAft>
                <a:spcPts val="0"/>
              </a:spcAft>
              <a:buClr>
                <a:schemeClr val="tx2"/>
              </a:buClr>
              <a:buFont typeface="Arial" panose="020B0604020202020204" pitchFamily="34" charset="0"/>
              <a:buChar char="•"/>
              <a:defRPr sz="2000" b="0" i="0" kern="1200">
                <a:solidFill>
                  <a:schemeClr val="tx1"/>
                </a:solidFill>
                <a:latin typeface="Franklin Gothic Book" panose="020B0503020102020204" pitchFamily="34" charset="0"/>
                <a:ea typeface="+mn-ea"/>
                <a:cs typeface="+mn-cs"/>
              </a:defRPr>
            </a:lvl3pPr>
            <a:lvl4pPr marL="1600200" indent="-228600" algn="l" defTabSz="914400" rtl="0" eaLnBrk="1" latinLnBrk="0" hangingPunct="1">
              <a:lnSpc>
                <a:spcPct val="90000"/>
              </a:lnSpc>
              <a:spcBef>
                <a:spcPts val="500"/>
              </a:spcBef>
              <a:spcAft>
                <a:spcPts val="0"/>
              </a:spcAft>
              <a:buClr>
                <a:schemeClr val="tx2"/>
              </a:buClr>
              <a:buFont typeface="Arial" panose="020B0604020202020204" pitchFamily="34" charset="0"/>
              <a:buChar char="•"/>
              <a:defRPr sz="1800" b="0" i="0" kern="1200">
                <a:solidFill>
                  <a:schemeClr val="tx1"/>
                </a:solidFill>
                <a:latin typeface="Franklin Gothic Book" panose="020B0503020102020204" pitchFamily="34" charset="0"/>
                <a:ea typeface="+mn-ea"/>
                <a:cs typeface="+mn-cs"/>
              </a:defRPr>
            </a:lvl4pPr>
            <a:lvl5pPr marL="2057400" indent="-228600" algn="l" defTabSz="914400" rtl="0" eaLnBrk="1" latinLnBrk="0" hangingPunct="1">
              <a:lnSpc>
                <a:spcPct val="90000"/>
              </a:lnSpc>
              <a:spcBef>
                <a:spcPts val="500"/>
              </a:spcBef>
              <a:spcAft>
                <a:spcPts val="0"/>
              </a:spcAft>
              <a:buClr>
                <a:schemeClr val="tx2"/>
              </a:buClr>
              <a:buFont typeface="Arial" panose="020B0604020202020204" pitchFamily="34" charset="0"/>
              <a:buChar char="•"/>
              <a:defRPr sz="1800" b="0" i="0" kern="1200">
                <a:solidFill>
                  <a:schemeClr val="tx1"/>
                </a:solidFill>
                <a:latin typeface="Franklin Gothic Book" panose="020B05030201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Competitively-awarded </a:t>
            </a:r>
            <a:r>
              <a:rPr kumimoji="0" lang="en-US" sz="1600" b="1" i="0" u="none" strike="noStrike" kern="1200" cap="none" spc="0" normalizeH="0" baseline="0" noProof="0">
                <a:ln>
                  <a:noFill/>
                </a:ln>
                <a:solidFill>
                  <a:srgbClr val="000000"/>
                </a:solidFill>
                <a:effectLst/>
                <a:uLnTx/>
                <a:uFillTx/>
                <a:latin typeface="Calibri"/>
                <a:ea typeface="Calibri"/>
                <a:cs typeface="Calibri"/>
              </a:rPr>
              <a:t>Investment Tax Credit (ITC)</a:t>
            </a:r>
            <a:r>
              <a:rPr kumimoji="0" lang="en-US" sz="1600" b="0" i="0" u="none" strike="noStrike" kern="1200" cap="none" spc="0" normalizeH="0" baseline="0" noProof="0">
                <a:ln>
                  <a:noFill/>
                </a:ln>
                <a:solidFill>
                  <a:srgbClr val="000000"/>
                </a:solidFill>
                <a:effectLst/>
                <a:uLnTx/>
                <a:uFillTx/>
                <a:latin typeface="Calibri"/>
                <a:ea typeface="Calibri"/>
                <a:cs typeface="Calibri"/>
              </a:rPr>
              <a:t> first established by the 2009 Recovery Act</a:t>
            </a:r>
          </a:p>
          <a:p>
            <a:pPr marL="228600" marR="0" lvl="0" indent="-228600" algn="l" defTabSz="914400" rtl="0" eaLnBrk="1" fontAlgn="auto" latinLnBrk="0" hangingPunct="1">
              <a:lnSpc>
                <a:spcPct val="100000"/>
              </a:lnSpc>
              <a:spcBef>
                <a:spcPts val="1000"/>
              </a:spcBef>
              <a:buClrTx/>
              <a:buSzTx/>
              <a:buFont typeface="Arial" panose="020B0604020202020204" pitchFamily="34" charset="0"/>
              <a:buChar char="•"/>
              <a:tabLst/>
              <a:defRPr/>
            </a:pPr>
            <a:r>
              <a:rPr kumimoji="0" lang="en-US" sz="1600" b="1" i="0" u="none" strike="noStrike" kern="1200" cap="none" spc="0" normalizeH="0" baseline="0" noProof="0">
                <a:ln>
                  <a:noFill/>
                </a:ln>
                <a:solidFill>
                  <a:srgbClr val="000000"/>
                </a:solidFill>
                <a:effectLst/>
                <a:uLnTx/>
                <a:uFillTx/>
                <a:latin typeface="Calibri"/>
                <a:ea typeface="Calibri"/>
                <a:cs typeface="Calibri"/>
              </a:rPr>
              <a:t>Expanded by IRA in 2022 with $10B </a:t>
            </a:r>
            <a:r>
              <a:rPr kumimoji="0" lang="en-US" sz="1600" b="0" i="0" u="none" strike="noStrike" kern="1200" cap="none" spc="0" normalizeH="0" baseline="0" noProof="0">
                <a:ln>
                  <a:noFill/>
                </a:ln>
                <a:solidFill>
                  <a:srgbClr val="000000"/>
                </a:solidFill>
                <a:effectLst/>
                <a:uLnTx/>
                <a:uFillTx/>
                <a:latin typeface="Calibri"/>
                <a:ea typeface="Calibri"/>
                <a:cs typeface="Calibri"/>
              </a:rPr>
              <a:t>for </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685800" marR="0" lvl="1" indent="-228600" algn="l" defTabSz="914400" rtl="0" eaLnBrk="1" fontAlgn="auto" latinLnBrk="0" hangingPunct="1">
              <a:lnSpc>
                <a:spcPct val="100000"/>
              </a:lnSpc>
              <a:spcBef>
                <a:spcPts val="500"/>
              </a:spcBef>
              <a:buClrTx/>
              <a:buSzTx/>
              <a:buAutoNum type="arabicPeriod"/>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Clean Energy Manufacturing/Recycling</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685800" marR="0" lvl="1" indent="-228600" algn="l" defTabSz="914400" rtl="0" eaLnBrk="1" fontAlgn="auto" latinLnBrk="0" hangingPunct="1">
              <a:lnSpc>
                <a:spcPct val="100000"/>
              </a:lnSpc>
              <a:spcBef>
                <a:spcPts val="500"/>
              </a:spcBef>
              <a:buClrTx/>
              <a:buSzTx/>
              <a:buAutoNum type="arabicPeriod"/>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Critical Materials </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685800" marR="0" lvl="1" indent="-228600" algn="l" defTabSz="914400" rtl="0" eaLnBrk="1" fontAlgn="auto" latinLnBrk="0" hangingPunct="1">
              <a:lnSpc>
                <a:spcPct val="100000"/>
              </a:lnSpc>
              <a:spcBef>
                <a:spcPts val="500"/>
              </a:spcBef>
              <a:buClrTx/>
              <a:buSzTx/>
              <a:buAutoNum type="arabicPeriod"/>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Industrial Decarbonization Projects</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algn="l" rtl="0" fontAlgn="base">
              <a:buFont typeface="Arial" panose="020B0604020202020204" pitchFamily="34" charset="0"/>
              <a:buChar char="•"/>
            </a:pPr>
            <a:r>
              <a:rPr lang="en-US" sz="1600">
                <a:solidFill>
                  <a:srgbClr val="000000"/>
                </a:solidFill>
                <a:latin typeface="Calibri"/>
                <a:ea typeface="Calibri"/>
                <a:cs typeface="Calibri"/>
              </a:rPr>
              <a:t>DOE accepted a first round of applications in 2023, and IRS allocated $4 billion of the program’s $10B total​</a:t>
            </a:r>
          </a:p>
          <a:p>
            <a:pPr algn="l" rtl="0" fontAlgn="base">
              <a:buFont typeface="Arial" panose="020B0604020202020204" pitchFamily="34" charset="0"/>
              <a:buChar char="•"/>
            </a:pPr>
            <a:r>
              <a:rPr lang="en-US" sz="1600">
                <a:solidFill>
                  <a:srgbClr val="000000"/>
                </a:solidFill>
                <a:latin typeface="Calibri"/>
                <a:ea typeface="Calibri"/>
                <a:cs typeface="Calibri"/>
              </a:rPr>
              <a:t>Round 2 Announced in April 2024 for up to $6 billion​</a:t>
            </a:r>
          </a:p>
          <a:p>
            <a:pPr>
              <a:lnSpc>
                <a:spcPct val="100000"/>
              </a:lnSpc>
              <a:buClrTx/>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Selected projects receive </a:t>
            </a:r>
            <a:r>
              <a:rPr lang="en-US" sz="1600">
                <a:solidFill>
                  <a:srgbClr val="000000"/>
                </a:solidFill>
                <a:latin typeface="Calibri"/>
                <a:ea typeface="Calibri"/>
                <a:cs typeface="Calibri"/>
              </a:rPr>
              <a:t>up to a</a:t>
            </a:r>
            <a:r>
              <a:rPr kumimoji="0" lang="en-US" sz="1600" b="0" i="0" u="none" strike="noStrike" kern="1200" cap="none" spc="0" normalizeH="0" baseline="0" noProof="0">
                <a:ln>
                  <a:noFill/>
                </a:ln>
                <a:solidFill>
                  <a:srgbClr val="000000"/>
                </a:solidFill>
                <a:effectLst/>
                <a:uLnTx/>
                <a:uFillTx/>
                <a:latin typeface="Calibri"/>
                <a:ea typeface="Calibri"/>
                <a:cs typeface="Calibri"/>
              </a:rPr>
              <a:t> </a:t>
            </a:r>
            <a:r>
              <a:rPr kumimoji="0" lang="en-US" sz="1600" b="1" i="0" u="none" strike="noStrike" kern="1200" cap="none" spc="0" normalizeH="0" baseline="0" noProof="0">
                <a:ln>
                  <a:noFill/>
                </a:ln>
                <a:solidFill>
                  <a:srgbClr val="000000"/>
                </a:solidFill>
                <a:effectLst/>
                <a:uLnTx/>
                <a:uFillTx/>
                <a:latin typeface="Calibri"/>
                <a:ea typeface="Calibri"/>
                <a:cs typeface="Calibri"/>
              </a:rPr>
              <a:t>30% ITC </a:t>
            </a:r>
            <a:r>
              <a:rPr kumimoji="0" lang="en-US" sz="1600" b="0" i="0" u="none" strike="noStrike" kern="1200" cap="none" spc="0" normalizeH="0" baseline="0" noProof="0">
                <a:ln>
                  <a:noFill/>
                </a:ln>
                <a:solidFill>
                  <a:srgbClr val="000000"/>
                </a:solidFill>
                <a:effectLst/>
                <a:uLnTx/>
                <a:uFillTx/>
                <a:latin typeface="Calibri"/>
                <a:ea typeface="Calibri"/>
                <a:cs typeface="Calibri"/>
              </a:rPr>
              <a:t>(6% if apprenticeship and prevailing wage requirements are not met)</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228600" marR="0" lvl="0" indent="-228600" algn="l" defTabSz="914400" rtl="0" eaLnBrk="1" fontAlgn="auto" latinLnBrk="0" hangingPunct="1">
              <a:lnSpc>
                <a:spcPct val="100000"/>
              </a:lnSpc>
              <a:spcBef>
                <a:spcPts val="1000"/>
              </a:spcBef>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In certain circumstances, </a:t>
            </a:r>
            <a:r>
              <a:rPr kumimoji="0" lang="en-US" sz="1600" b="1" i="0" u="none" strike="noStrike" kern="1200" cap="none" spc="0" normalizeH="0" baseline="0" noProof="0">
                <a:ln>
                  <a:noFill/>
                </a:ln>
                <a:solidFill>
                  <a:srgbClr val="000000"/>
                </a:solidFill>
                <a:effectLst/>
                <a:uLnTx/>
                <a:uFillTx/>
                <a:latin typeface="Calibri"/>
                <a:ea typeface="Calibri"/>
                <a:cs typeface="Calibri"/>
              </a:rPr>
              <a:t>applicable entities can elect for direct pay </a:t>
            </a:r>
            <a:r>
              <a:rPr kumimoji="0" lang="en-US" sz="1600" b="0" i="0" u="none" strike="noStrike" kern="1200" cap="none" spc="0" normalizeH="0" baseline="0" noProof="0">
                <a:ln>
                  <a:noFill/>
                </a:ln>
                <a:solidFill>
                  <a:srgbClr val="000000"/>
                </a:solidFill>
                <a:effectLst/>
                <a:uLnTx/>
                <a:uFillTx/>
                <a:latin typeface="Calibri"/>
                <a:ea typeface="Calibri"/>
                <a:cs typeface="Calibri"/>
              </a:rPr>
              <a:t>in lieu of a tax credit</a:t>
            </a:r>
          </a:p>
          <a:p>
            <a:pPr>
              <a:lnSpc>
                <a:spcPct val="100000"/>
              </a:lnSpc>
              <a:buClrTx/>
              <a:defRPr/>
            </a:pPr>
            <a:r>
              <a:rPr kumimoji="0" lang="en-US" sz="1600" b="0" i="0" u="none" strike="noStrike" kern="1200" cap="none" spc="0" normalizeH="0" baseline="0" noProof="0">
                <a:ln>
                  <a:noFill/>
                </a:ln>
                <a:solidFill>
                  <a:srgbClr val="000000"/>
                </a:solidFill>
                <a:effectLst/>
                <a:uLnTx/>
                <a:uFillTx/>
                <a:latin typeface="Calibri"/>
                <a:ea typeface="Calibri"/>
                <a:cs typeface="Calibri"/>
              </a:rPr>
              <a:t>At least </a:t>
            </a:r>
            <a:r>
              <a:rPr kumimoji="0" lang="en-US" sz="1600" b="1" i="0" u="none" strike="noStrike" kern="1200" cap="none" spc="0" normalizeH="0" baseline="0" noProof="0">
                <a:ln>
                  <a:noFill/>
                </a:ln>
                <a:solidFill>
                  <a:srgbClr val="000000"/>
                </a:solidFill>
                <a:effectLst/>
                <a:uLnTx/>
                <a:uFillTx/>
                <a:latin typeface="Calibri"/>
                <a:ea typeface="Calibri"/>
                <a:cs typeface="Calibri"/>
              </a:rPr>
              <a:t>40% of all credits will be allocated to projects in</a:t>
            </a:r>
            <a:r>
              <a:rPr lang="en-US" sz="1600" b="1">
                <a:solidFill>
                  <a:srgbClr val="000000"/>
                </a:solidFill>
                <a:latin typeface="Calibri"/>
                <a:ea typeface="Calibri"/>
                <a:cs typeface="Calibri"/>
              </a:rPr>
              <a:t> 48C(e)</a:t>
            </a:r>
            <a:r>
              <a:rPr kumimoji="0" lang="en-US" sz="1600" b="1" i="0" u="none" strike="noStrike" kern="1200" cap="none" spc="0" normalizeH="0" baseline="0" noProof="0">
                <a:ln>
                  <a:noFill/>
                </a:ln>
                <a:solidFill>
                  <a:srgbClr val="000000"/>
                </a:solidFill>
                <a:effectLst/>
                <a:uLnTx/>
                <a:uFillTx/>
                <a:latin typeface="Calibri"/>
                <a:ea typeface="Calibri"/>
                <a:cs typeface="Calibri"/>
              </a:rPr>
              <a:t> energy communities</a:t>
            </a:r>
            <a:endParaRPr lang="en-US" sz="1600" b="0" i="0" u="none" strike="noStrike" kern="1200" cap="none" spc="0" normalizeH="0" baseline="0" noProof="0">
              <a:ln>
                <a:noFill/>
              </a:ln>
              <a:solidFill>
                <a:srgbClr val="000000"/>
              </a:solidFill>
              <a:effectLst/>
              <a:uLnTx/>
              <a:uFillTx/>
              <a:latin typeface="Calibri"/>
              <a:ea typeface="Calibri"/>
              <a:cs typeface="Calibri"/>
            </a:endParaRPr>
          </a:p>
          <a:p>
            <a:pPr marL="0" marR="0" lvl="0" indent="0" algn="l" defTabSz="914400" rtl="0" eaLnBrk="1" fontAlgn="auto" latinLnBrk="0" hangingPunct="1">
              <a:lnSpc>
                <a:spcPct val="100000"/>
              </a:lnSpc>
              <a:spcBef>
                <a:spcPts val="1000"/>
              </a:spcBef>
              <a:spcAft>
                <a:spcPts val="0"/>
              </a:spcAft>
              <a:buClr>
                <a:srgbClr val="205FAB"/>
              </a:buClr>
              <a:buSzTx/>
              <a:buNone/>
              <a:tabLst/>
              <a:defRPr/>
            </a:pPr>
            <a:endParaRPr lang="en-US" sz="20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B09A1343-4D1E-401A-26FC-44F0E7975397}"/>
              </a:ext>
            </a:extLst>
          </p:cNvPr>
          <p:cNvSpPr/>
          <p:nvPr/>
        </p:nvSpPr>
        <p:spPr>
          <a:xfrm>
            <a:off x="385184" y="885160"/>
            <a:ext cx="5486400" cy="6726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48C(e) Expanded with $10B in Funding</a:t>
            </a:r>
          </a:p>
        </p:txBody>
      </p:sp>
      <p:sp>
        <p:nvSpPr>
          <p:cNvPr id="18" name="Rectangle 17">
            <a:extLst>
              <a:ext uri="{FF2B5EF4-FFF2-40B4-BE49-F238E27FC236}">
                <a16:creationId xmlns:a16="http://schemas.microsoft.com/office/drawing/2014/main" id="{25962527-66CE-34F4-9F39-20F1FE69D127}"/>
              </a:ext>
            </a:extLst>
          </p:cNvPr>
          <p:cNvSpPr/>
          <p:nvPr/>
        </p:nvSpPr>
        <p:spPr>
          <a:xfrm>
            <a:off x="6231527" y="885160"/>
            <a:ext cx="5486400" cy="6726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Key Considerations for Round 2</a:t>
            </a:r>
          </a:p>
        </p:txBody>
      </p:sp>
      <p:pic>
        <p:nvPicPr>
          <p:cNvPr id="6" name="Picture 5">
            <a:extLst>
              <a:ext uri="{FF2B5EF4-FFF2-40B4-BE49-F238E27FC236}">
                <a16:creationId xmlns:a16="http://schemas.microsoft.com/office/drawing/2014/main" id="{3E1ABBA6-9DBF-5CC4-0D44-29F9BF521191}"/>
              </a:ext>
            </a:extLst>
          </p:cNvPr>
          <p:cNvPicPr>
            <a:picLocks noChangeAspect="1"/>
          </p:cNvPicPr>
          <p:nvPr/>
        </p:nvPicPr>
        <p:blipFill>
          <a:blip r:embed="rId3"/>
          <a:stretch>
            <a:fillRect/>
          </a:stretch>
        </p:blipFill>
        <p:spPr>
          <a:xfrm>
            <a:off x="6315796" y="3687612"/>
            <a:ext cx="5474682" cy="2633700"/>
          </a:xfrm>
          <a:prstGeom prst="rect">
            <a:avLst/>
          </a:prstGeom>
        </p:spPr>
      </p:pic>
    </p:spTree>
    <p:extLst>
      <p:ext uri="{BB962C8B-B14F-4D97-AF65-F5344CB8AC3E}">
        <p14:creationId xmlns:p14="http://schemas.microsoft.com/office/powerpoint/2010/main" val="283671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1E3E6135-59A9-8D23-052E-3E8A20AD6202}"/>
              </a:ext>
            </a:extLst>
          </p:cNvPr>
          <p:cNvGraphicFramePr/>
          <p:nvPr>
            <p:extLst>
              <p:ext uri="{D42A27DB-BD31-4B8C-83A1-F6EECF244321}">
                <p14:modId xmlns:p14="http://schemas.microsoft.com/office/powerpoint/2010/main" val="2327309940"/>
              </p:ext>
            </p:extLst>
          </p:nvPr>
        </p:nvGraphicFramePr>
        <p:xfrm>
          <a:off x="236668" y="281630"/>
          <a:ext cx="11570147" cy="65763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FDD028A1-5BE1-31ED-462A-4A54BB4C06E2}"/>
              </a:ext>
            </a:extLst>
          </p:cNvPr>
          <p:cNvSpPr>
            <a:spLocks noGrp="1"/>
          </p:cNvSpPr>
          <p:nvPr>
            <p:ph type="title"/>
          </p:nvPr>
        </p:nvSpPr>
        <p:spPr>
          <a:xfrm>
            <a:off x="385184" y="281630"/>
            <a:ext cx="10866964" cy="861774"/>
          </a:xfrm>
        </p:spPr>
        <p:txBody>
          <a:bodyPr/>
          <a:lstStyle/>
          <a:p>
            <a:r>
              <a:rPr lang="en-US" sz="2800" dirty="0"/>
              <a:t>BIL 40207: Consumer Electronics Battery Recycling, Reprocessing, and Battery Collection for State and Local Governments and Retailers</a:t>
            </a:r>
            <a:endParaRPr lang="en-US" dirty="0"/>
          </a:p>
        </p:txBody>
      </p:sp>
    </p:spTree>
    <p:extLst>
      <p:ext uri="{BB962C8B-B14F-4D97-AF65-F5344CB8AC3E}">
        <p14:creationId xmlns:p14="http://schemas.microsoft.com/office/powerpoint/2010/main" val="9101048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7071E0-2290-7F61-0929-76C9B11528EE}"/>
              </a:ext>
            </a:extLst>
          </p:cNvPr>
          <p:cNvSpPr>
            <a:spLocks noGrp="1"/>
          </p:cNvSpPr>
          <p:nvPr>
            <p:ph type="title"/>
          </p:nvPr>
        </p:nvSpPr>
        <p:spPr>
          <a:xfrm>
            <a:off x="385184" y="281630"/>
            <a:ext cx="7844416" cy="461665"/>
          </a:xfrm>
        </p:spPr>
        <p:txBody>
          <a:bodyPr>
            <a:normAutofit fontScale="90000"/>
          </a:bodyPr>
          <a:lstStyle/>
          <a:p>
            <a:r>
              <a:rPr lang="en-US" sz="3000" dirty="0"/>
              <a:t>BIL 40207: Battery Material Processing and Manufacturing Grants – Round 1</a:t>
            </a:r>
          </a:p>
        </p:txBody>
      </p:sp>
      <p:pic>
        <p:nvPicPr>
          <p:cNvPr id="7" name="Picture 6">
            <a:extLst>
              <a:ext uri="{FF2B5EF4-FFF2-40B4-BE49-F238E27FC236}">
                <a16:creationId xmlns:a16="http://schemas.microsoft.com/office/drawing/2014/main" id="{F17E7BA0-3318-3E3F-3440-B0547EFA0B95}"/>
              </a:ext>
            </a:extLst>
          </p:cNvPr>
          <p:cNvPicPr>
            <a:picLocks noChangeAspect="1"/>
          </p:cNvPicPr>
          <p:nvPr/>
        </p:nvPicPr>
        <p:blipFill rotWithShape="1">
          <a:blip r:embed="rId3"/>
          <a:srcRect r="22811" b="8267"/>
          <a:stretch/>
        </p:blipFill>
        <p:spPr>
          <a:xfrm>
            <a:off x="2788455" y="3429000"/>
            <a:ext cx="4394603" cy="2988723"/>
          </a:xfrm>
          <a:prstGeom prst="rect">
            <a:avLst/>
          </a:prstGeom>
        </p:spPr>
      </p:pic>
      <p:pic>
        <p:nvPicPr>
          <p:cNvPr id="8" name="Picture 7">
            <a:extLst>
              <a:ext uri="{FF2B5EF4-FFF2-40B4-BE49-F238E27FC236}">
                <a16:creationId xmlns:a16="http://schemas.microsoft.com/office/drawing/2014/main" id="{DDE30342-E271-4A7F-C926-CFA63A2B8389}"/>
              </a:ext>
            </a:extLst>
          </p:cNvPr>
          <p:cNvPicPr>
            <a:picLocks noChangeAspect="1"/>
          </p:cNvPicPr>
          <p:nvPr/>
        </p:nvPicPr>
        <p:blipFill rotWithShape="1">
          <a:blip r:embed="rId4"/>
          <a:srcRect r="22811" b="10296"/>
          <a:stretch/>
        </p:blipFill>
        <p:spPr>
          <a:xfrm>
            <a:off x="2788455" y="1147931"/>
            <a:ext cx="4331552" cy="2208490"/>
          </a:xfrm>
          <a:prstGeom prst="rect">
            <a:avLst/>
          </a:prstGeom>
        </p:spPr>
      </p:pic>
      <p:pic>
        <p:nvPicPr>
          <p:cNvPr id="9" name="Picture 8">
            <a:extLst>
              <a:ext uri="{FF2B5EF4-FFF2-40B4-BE49-F238E27FC236}">
                <a16:creationId xmlns:a16="http://schemas.microsoft.com/office/drawing/2014/main" id="{812D3877-6120-533E-C947-A7AA9194F2C3}"/>
              </a:ext>
            </a:extLst>
          </p:cNvPr>
          <p:cNvPicPr>
            <a:picLocks noChangeAspect="1"/>
          </p:cNvPicPr>
          <p:nvPr/>
        </p:nvPicPr>
        <p:blipFill rotWithShape="1">
          <a:blip r:embed="rId5"/>
          <a:srcRect r="61163" b="11997"/>
          <a:stretch/>
        </p:blipFill>
        <p:spPr>
          <a:xfrm>
            <a:off x="255577" y="2645856"/>
            <a:ext cx="2286000" cy="2023488"/>
          </a:xfrm>
          <a:prstGeom prst="rect">
            <a:avLst/>
          </a:prstGeom>
        </p:spPr>
      </p:pic>
      <p:pic>
        <p:nvPicPr>
          <p:cNvPr id="11" name="Picture 10">
            <a:extLst>
              <a:ext uri="{FF2B5EF4-FFF2-40B4-BE49-F238E27FC236}">
                <a16:creationId xmlns:a16="http://schemas.microsoft.com/office/drawing/2014/main" id="{7C021073-897C-6D01-94B8-112B6ED8584E}"/>
              </a:ext>
            </a:extLst>
          </p:cNvPr>
          <p:cNvPicPr>
            <a:picLocks noChangeAspect="1"/>
          </p:cNvPicPr>
          <p:nvPr/>
        </p:nvPicPr>
        <p:blipFill rotWithShape="1">
          <a:blip r:embed="rId6"/>
          <a:srcRect r="61008" b="16335"/>
          <a:stretch/>
        </p:blipFill>
        <p:spPr>
          <a:xfrm>
            <a:off x="255577" y="1147932"/>
            <a:ext cx="2286000" cy="1348923"/>
          </a:xfrm>
          <a:prstGeom prst="rect">
            <a:avLst/>
          </a:prstGeom>
        </p:spPr>
      </p:pic>
      <p:pic>
        <p:nvPicPr>
          <p:cNvPr id="20" name="Picture 19">
            <a:extLst>
              <a:ext uri="{FF2B5EF4-FFF2-40B4-BE49-F238E27FC236}">
                <a16:creationId xmlns:a16="http://schemas.microsoft.com/office/drawing/2014/main" id="{6FF983EB-F0F5-6CED-294C-5F3E40871C15}"/>
              </a:ext>
            </a:extLst>
          </p:cNvPr>
          <p:cNvPicPr>
            <a:picLocks noChangeAspect="1"/>
          </p:cNvPicPr>
          <p:nvPr/>
        </p:nvPicPr>
        <p:blipFill rotWithShape="1">
          <a:blip r:embed="rId7"/>
          <a:srcRect r="61008" b="15913"/>
          <a:stretch/>
        </p:blipFill>
        <p:spPr>
          <a:xfrm>
            <a:off x="7469177" y="4980026"/>
            <a:ext cx="2286000" cy="1437697"/>
          </a:xfrm>
          <a:prstGeom prst="rect">
            <a:avLst/>
          </a:prstGeom>
        </p:spPr>
      </p:pic>
      <p:pic>
        <p:nvPicPr>
          <p:cNvPr id="12" name="Content Placeholder 4" descr="A picture containing text, transport, wheel&#10;&#10;Description automatically generated">
            <a:extLst>
              <a:ext uri="{FF2B5EF4-FFF2-40B4-BE49-F238E27FC236}">
                <a16:creationId xmlns:a16="http://schemas.microsoft.com/office/drawing/2014/main" id="{AA901783-CB01-D026-194F-3185DC77B10C}"/>
              </a:ext>
            </a:extLst>
          </p:cNvPr>
          <p:cNvPicPr>
            <a:picLocks noChangeAspect="1"/>
          </p:cNvPicPr>
          <p:nvPr/>
        </p:nvPicPr>
        <p:blipFill>
          <a:blip r:embed="rId8">
            <a:extLst>
              <a:ext uri="{28A0092B-C50C-407E-A947-70E740481C1C}">
                <a14:useLocalDpi xmlns:a14="http://schemas.microsoft.com/office/drawing/2010/main" val="0"/>
              </a:ext>
            </a:extLst>
          </a:blip>
          <a:srcRect l="6642" t="8654" r="46536" b="7706"/>
          <a:stretch/>
        </p:blipFill>
        <p:spPr>
          <a:xfrm>
            <a:off x="7852554" y="284420"/>
            <a:ext cx="4213661" cy="4124450"/>
          </a:xfrm>
          <a:prstGeom prst="ellipse">
            <a:avLst/>
          </a:prstGeom>
        </p:spPr>
      </p:pic>
    </p:spTree>
    <p:extLst>
      <p:ext uri="{BB962C8B-B14F-4D97-AF65-F5344CB8AC3E}">
        <p14:creationId xmlns:p14="http://schemas.microsoft.com/office/powerpoint/2010/main" val="32873328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A818D2-86FF-C45F-2636-DC299DAA1A1C}"/>
              </a:ext>
            </a:extLst>
          </p:cNvPr>
          <p:cNvSpPr>
            <a:spLocks noGrp="1"/>
          </p:cNvSpPr>
          <p:nvPr>
            <p:ph type="title"/>
          </p:nvPr>
        </p:nvSpPr>
        <p:spPr>
          <a:xfrm>
            <a:off x="385184" y="281630"/>
            <a:ext cx="10866964" cy="369332"/>
          </a:xfrm>
        </p:spPr>
        <p:txBody>
          <a:bodyPr/>
          <a:lstStyle/>
          <a:p>
            <a:r>
              <a:rPr lang="en-US" sz="2400" dirty="0"/>
              <a:t>BIL 40207: Battery Material Processing and Manufacturing Grants – Round 2</a:t>
            </a:r>
          </a:p>
        </p:txBody>
      </p:sp>
      <p:pic>
        <p:nvPicPr>
          <p:cNvPr id="7" name="Picture 6">
            <a:extLst>
              <a:ext uri="{FF2B5EF4-FFF2-40B4-BE49-F238E27FC236}">
                <a16:creationId xmlns:a16="http://schemas.microsoft.com/office/drawing/2014/main" id="{124D0D3E-D15F-F5F0-B30B-185D66023576}"/>
              </a:ext>
            </a:extLst>
          </p:cNvPr>
          <p:cNvPicPr>
            <a:picLocks noChangeAspect="1"/>
          </p:cNvPicPr>
          <p:nvPr/>
        </p:nvPicPr>
        <p:blipFill rotWithShape="1">
          <a:blip r:embed="rId2"/>
          <a:srcRect r="23139" b="7237"/>
          <a:stretch/>
        </p:blipFill>
        <p:spPr>
          <a:xfrm>
            <a:off x="4164838" y="830067"/>
            <a:ext cx="3657600" cy="3003870"/>
          </a:xfrm>
          <a:prstGeom prst="rect">
            <a:avLst/>
          </a:prstGeom>
        </p:spPr>
      </p:pic>
      <p:pic>
        <p:nvPicPr>
          <p:cNvPr id="8" name="Picture 7">
            <a:extLst>
              <a:ext uri="{FF2B5EF4-FFF2-40B4-BE49-F238E27FC236}">
                <a16:creationId xmlns:a16="http://schemas.microsoft.com/office/drawing/2014/main" id="{86AC51B1-88B6-78B8-A39E-1184C8399FA8}"/>
              </a:ext>
            </a:extLst>
          </p:cNvPr>
          <p:cNvPicPr>
            <a:picLocks noChangeAspect="1"/>
          </p:cNvPicPr>
          <p:nvPr/>
        </p:nvPicPr>
        <p:blipFill rotWithShape="1">
          <a:blip r:embed="rId3"/>
          <a:srcRect l="1472" t="1" r="22618" b="-1762"/>
          <a:stretch/>
        </p:blipFill>
        <p:spPr>
          <a:xfrm>
            <a:off x="4164838" y="3924714"/>
            <a:ext cx="3657600" cy="2374087"/>
          </a:xfrm>
          <a:prstGeom prst="rect">
            <a:avLst/>
          </a:prstGeom>
        </p:spPr>
      </p:pic>
      <p:pic>
        <p:nvPicPr>
          <p:cNvPr id="9" name="Picture 8">
            <a:extLst>
              <a:ext uri="{FF2B5EF4-FFF2-40B4-BE49-F238E27FC236}">
                <a16:creationId xmlns:a16="http://schemas.microsoft.com/office/drawing/2014/main" id="{8B1F4093-DBA9-392E-8DBB-B644662027FE}"/>
              </a:ext>
            </a:extLst>
          </p:cNvPr>
          <p:cNvPicPr>
            <a:picLocks noChangeAspect="1"/>
          </p:cNvPicPr>
          <p:nvPr/>
        </p:nvPicPr>
        <p:blipFill rotWithShape="1">
          <a:blip r:embed="rId4"/>
          <a:srcRect r="23177" b="5849"/>
          <a:stretch/>
        </p:blipFill>
        <p:spPr>
          <a:xfrm>
            <a:off x="8095742" y="830067"/>
            <a:ext cx="3657600" cy="3600820"/>
          </a:xfrm>
          <a:prstGeom prst="rect">
            <a:avLst/>
          </a:prstGeom>
        </p:spPr>
      </p:pic>
      <p:pic>
        <p:nvPicPr>
          <p:cNvPr id="10" name="Picture 9">
            <a:extLst>
              <a:ext uri="{FF2B5EF4-FFF2-40B4-BE49-F238E27FC236}">
                <a16:creationId xmlns:a16="http://schemas.microsoft.com/office/drawing/2014/main" id="{7B1408C4-CAD4-B698-0215-E4A6499A4076}"/>
              </a:ext>
            </a:extLst>
          </p:cNvPr>
          <p:cNvPicPr>
            <a:picLocks noChangeAspect="1"/>
          </p:cNvPicPr>
          <p:nvPr/>
        </p:nvPicPr>
        <p:blipFill rotWithShape="1">
          <a:blip r:embed="rId5"/>
          <a:srcRect r="23122" b="14695"/>
          <a:stretch/>
        </p:blipFill>
        <p:spPr>
          <a:xfrm>
            <a:off x="267716" y="3172145"/>
            <a:ext cx="3657600" cy="1272896"/>
          </a:xfrm>
          <a:prstGeom prst="rect">
            <a:avLst/>
          </a:prstGeom>
        </p:spPr>
      </p:pic>
      <p:pic>
        <p:nvPicPr>
          <p:cNvPr id="11" name="Picture 10">
            <a:extLst>
              <a:ext uri="{FF2B5EF4-FFF2-40B4-BE49-F238E27FC236}">
                <a16:creationId xmlns:a16="http://schemas.microsoft.com/office/drawing/2014/main" id="{AE75682E-B42E-6F62-37AB-8D389167A8CE}"/>
              </a:ext>
            </a:extLst>
          </p:cNvPr>
          <p:cNvPicPr>
            <a:picLocks noChangeAspect="1"/>
          </p:cNvPicPr>
          <p:nvPr/>
        </p:nvPicPr>
        <p:blipFill rotWithShape="1">
          <a:blip r:embed="rId6"/>
          <a:srcRect r="22713" b="9307"/>
          <a:stretch/>
        </p:blipFill>
        <p:spPr>
          <a:xfrm>
            <a:off x="267716" y="830067"/>
            <a:ext cx="3657600" cy="2292586"/>
          </a:xfrm>
          <a:prstGeom prst="rect">
            <a:avLst/>
          </a:prstGeom>
        </p:spPr>
      </p:pic>
      <p:pic>
        <p:nvPicPr>
          <p:cNvPr id="12" name="Picture 11">
            <a:extLst>
              <a:ext uri="{FF2B5EF4-FFF2-40B4-BE49-F238E27FC236}">
                <a16:creationId xmlns:a16="http://schemas.microsoft.com/office/drawing/2014/main" id="{175B47C5-CCE7-FD6A-1D9E-A9BE53DE5E16}"/>
              </a:ext>
            </a:extLst>
          </p:cNvPr>
          <p:cNvPicPr>
            <a:picLocks noChangeAspect="1"/>
          </p:cNvPicPr>
          <p:nvPr/>
        </p:nvPicPr>
        <p:blipFill rotWithShape="1">
          <a:blip r:embed="rId7"/>
          <a:srcRect r="23177" b="11319"/>
          <a:stretch/>
        </p:blipFill>
        <p:spPr>
          <a:xfrm>
            <a:off x="8095742" y="4519875"/>
            <a:ext cx="3657600" cy="1912896"/>
          </a:xfrm>
          <a:prstGeom prst="rect">
            <a:avLst/>
          </a:prstGeom>
        </p:spPr>
      </p:pic>
      <p:pic>
        <p:nvPicPr>
          <p:cNvPr id="6" name="Content Placeholder 4" descr="A picture containing text, transport, wheel&#10;&#10;Description automatically generated">
            <a:extLst>
              <a:ext uri="{FF2B5EF4-FFF2-40B4-BE49-F238E27FC236}">
                <a16:creationId xmlns:a16="http://schemas.microsoft.com/office/drawing/2014/main" id="{E5D34533-E577-C059-44B8-037B52C92326}"/>
              </a:ext>
            </a:extLst>
          </p:cNvPr>
          <p:cNvPicPr>
            <a:picLocks noChangeAspect="1"/>
          </p:cNvPicPr>
          <p:nvPr/>
        </p:nvPicPr>
        <p:blipFill>
          <a:blip r:embed="rId8">
            <a:extLst>
              <a:ext uri="{28A0092B-C50C-407E-A947-70E740481C1C}">
                <a14:useLocalDpi xmlns:a14="http://schemas.microsoft.com/office/drawing/2010/main" val="0"/>
              </a:ext>
            </a:extLst>
          </a:blip>
          <a:srcRect l="6642" t="8654" r="46536" b="7706"/>
          <a:stretch/>
        </p:blipFill>
        <p:spPr>
          <a:xfrm>
            <a:off x="1519047" y="4430887"/>
            <a:ext cx="2491740" cy="2392633"/>
          </a:xfrm>
          <a:prstGeom prst="ellipse">
            <a:avLst/>
          </a:prstGeom>
        </p:spPr>
      </p:pic>
    </p:spTree>
    <p:extLst>
      <p:ext uri="{BB962C8B-B14F-4D97-AF65-F5344CB8AC3E}">
        <p14:creationId xmlns:p14="http://schemas.microsoft.com/office/powerpoint/2010/main" val="3330815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F74DAAD9-C6AE-4EB2-5EDC-6B0D9E3497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608" imgH="609" progId="TCLayout.ActiveDocument.1">
                  <p:embed/>
                </p:oleObj>
              </mc:Choice>
              <mc:Fallback>
                <p:oleObj name="think-cell Slide" r:id="rId46" imgW="608" imgH="609" progId="TCLayout.ActiveDocument.1">
                  <p:embed/>
                  <p:pic>
                    <p:nvPicPr>
                      <p:cNvPr id="34" name="think-cell data - do not delete" hidden="1">
                        <a:extLst>
                          <a:ext uri="{FF2B5EF4-FFF2-40B4-BE49-F238E27FC236}">
                            <a16:creationId xmlns:a16="http://schemas.microsoft.com/office/drawing/2014/main" id="{F74DAAD9-C6AE-4EB2-5EDC-6B0D9E349781}"/>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B6C1A4-5F40-D3A1-EFCA-A4734239BE80}"/>
              </a:ext>
            </a:extLst>
          </p:cNvPr>
          <p:cNvSpPr>
            <a:spLocks noGrp="1"/>
          </p:cNvSpPr>
          <p:nvPr>
            <p:ph type="title"/>
          </p:nvPr>
        </p:nvSpPr>
        <p:spPr/>
        <p:txBody>
          <a:bodyPr vert="horz">
            <a:normAutofit fontScale="90000"/>
          </a:bodyPr>
          <a:lstStyle/>
          <a:p>
            <a:r>
              <a:rPr lang="en-US" sz="3300" dirty="0"/>
              <a:t>MESC is working to deploy an additional $20B+ across workforce, batteries, and ESIB initiatives</a:t>
            </a:r>
            <a:br>
              <a:rPr lang="en-US" dirty="0"/>
            </a:br>
            <a:endParaRPr lang="en-US" dirty="0"/>
          </a:p>
        </p:txBody>
      </p:sp>
      <p:cxnSp>
        <p:nvCxnSpPr>
          <p:cNvPr id="4" name="Straight Connector 3">
            <a:extLst>
              <a:ext uri="{FF2B5EF4-FFF2-40B4-BE49-F238E27FC236}">
                <a16:creationId xmlns:a16="http://schemas.microsoft.com/office/drawing/2014/main" id="{A8208AE5-A003-5B07-0CF3-D34C7625FCF9}"/>
              </a:ext>
            </a:extLst>
          </p:cNvPr>
          <p:cNvCxnSpPr/>
          <p:nvPr>
            <p:custDataLst>
              <p:tags r:id="rId2"/>
            </p:custDataLst>
          </p:nvPr>
        </p:nvCxnSpPr>
        <p:spPr bwMode="gray">
          <a:xfrm>
            <a:off x="1760538" y="3911600"/>
            <a:ext cx="368300" cy="0"/>
          </a:xfrm>
          <a:prstGeom prst="line">
            <a:avLst/>
          </a:prstGeom>
          <a:ln w="3175" cap="flat" cmpd="sng" algn="ctr">
            <a:solidFill>
              <a:srgbClr val="B1B3B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36A87FC6-3FEE-B984-5BFF-72F8CEF724BC}"/>
              </a:ext>
            </a:extLst>
          </p:cNvPr>
          <p:cNvCxnSpPr/>
          <p:nvPr>
            <p:custDataLst>
              <p:tags r:id="rId3"/>
            </p:custDataLst>
          </p:nvPr>
        </p:nvCxnSpPr>
        <p:spPr bwMode="gray">
          <a:xfrm>
            <a:off x="2743200" y="3300413"/>
            <a:ext cx="368300" cy="0"/>
          </a:xfrm>
          <a:prstGeom prst="line">
            <a:avLst/>
          </a:prstGeom>
          <a:ln w="3175" cap="flat" cmpd="sng" algn="ctr">
            <a:solidFill>
              <a:srgbClr val="B1B3B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313E0692-E03C-9B27-9027-D36E9472A7B6}"/>
              </a:ext>
            </a:extLst>
          </p:cNvPr>
          <p:cNvCxnSpPr/>
          <p:nvPr>
            <p:custDataLst>
              <p:tags r:id="rId4"/>
            </p:custDataLst>
          </p:nvPr>
        </p:nvCxnSpPr>
        <p:spPr bwMode="gray">
          <a:xfrm>
            <a:off x="3725863" y="3105150"/>
            <a:ext cx="368300" cy="0"/>
          </a:xfrm>
          <a:prstGeom prst="line">
            <a:avLst/>
          </a:prstGeom>
          <a:ln w="3175" cap="flat" cmpd="sng" algn="ctr">
            <a:solidFill>
              <a:srgbClr val="B1B3B3"/>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B39F8418-97A4-534B-7D87-120B4C7DA819}"/>
              </a:ext>
            </a:extLst>
          </p:cNvPr>
          <p:cNvCxnSpPr/>
          <p:nvPr>
            <p:custDataLst>
              <p:tags r:id="rId5"/>
            </p:custDataLst>
          </p:nvPr>
        </p:nvCxnSpPr>
        <p:spPr bwMode="gray">
          <a:xfrm>
            <a:off x="5691188" y="2911475"/>
            <a:ext cx="3683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3B12AFE4-9E1A-D31D-A311-96F30FB85ADB}"/>
              </a:ext>
            </a:extLst>
          </p:cNvPr>
          <p:cNvCxnSpPr/>
          <p:nvPr>
            <p:custDataLst>
              <p:tags r:id="rId6"/>
            </p:custDataLst>
          </p:nvPr>
        </p:nvCxnSpPr>
        <p:spPr bwMode="gray">
          <a:xfrm>
            <a:off x="4708525" y="2960688"/>
            <a:ext cx="368300"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8" name="Chart 167">
            <a:extLst>
              <a:ext uri="{FF2B5EF4-FFF2-40B4-BE49-F238E27FC236}">
                <a16:creationId xmlns:a16="http://schemas.microsoft.com/office/drawing/2014/main" id="{BD48B9E5-0B44-97B7-C470-7F38E4438260}"/>
              </a:ext>
            </a:extLst>
          </p:cNvPr>
          <p:cNvGraphicFramePr/>
          <p:nvPr>
            <p:custDataLst>
              <p:tags r:id="rId7"/>
            </p:custDataLst>
          </p:nvPr>
        </p:nvGraphicFramePr>
        <p:xfrm>
          <a:off x="879475" y="2355850"/>
          <a:ext cx="6061075" cy="2622550"/>
        </p:xfrm>
        <a:graphic>
          <a:graphicData uri="http://schemas.openxmlformats.org/drawingml/2006/chart">
            <c:chart xmlns:c="http://schemas.openxmlformats.org/drawingml/2006/chart" xmlns:r="http://schemas.openxmlformats.org/officeDocument/2006/relationships" r:id="rId48"/>
          </a:graphicData>
        </a:graphic>
      </p:graphicFrame>
      <p:sp>
        <p:nvSpPr>
          <p:cNvPr id="89" name="Text Placeholder 3">
            <a:extLst>
              <a:ext uri="{FF2B5EF4-FFF2-40B4-BE49-F238E27FC236}">
                <a16:creationId xmlns:a16="http://schemas.microsoft.com/office/drawing/2014/main" id="{95A1D726-56B6-3AC2-51AE-E4C9634556B6}"/>
              </a:ext>
            </a:extLst>
          </p:cNvPr>
          <p:cNvSpPr>
            <a:spLocks noGrp="1"/>
          </p:cNvSpPr>
          <p:nvPr>
            <p:custDataLst>
              <p:tags r:id="rId8"/>
            </p:custDataLst>
          </p:nvPr>
        </p:nvSpPr>
        <p:spPr bwMode="gray">
          <a:xfrm>
            <a:off x="752475" y="4826001"/>
            <a:ext cx="71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45786372-BE11-45D4-8907-779042F56808}" type="datetime'''''''''''''''''''''''''''''''''''''''''''''''''''''0'">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0</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90" name="Text Placeholder 3">
            <a:extLst>
              <a:ext uri="{FF2B5EF4-FFF2-40B4-BE49-F238E27FC236}">
                <a16:creationId xmlns:a16="http://schemas.microsoft.com/office/drawing/2014/main" id="{930C6D15-904A-CF1C-3356-6C8C81A87797}"/>
              </a:ext>
            </a:extLst>
          </p:cNvPr>
          <p:cNvSpPr>
            <a:spLocks noGrp="1"/>
          </p:cNvSpPr>
          <p:nvPr>
            <p:custDataLst>
              <p:tags r:id="rId9"/>
            </p:custDataLst>
          </p:nvPr>
        </p:nvSpPr>
        <p:spPr bwMode="gray">
          <a:xfrm>
            <a:off x="752475" y="4333875"/>
            <a:ext cx="714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DFDF9FA1-870A-4841-BBA4-181DE81FEB74}" type="datetime'''''''''''''''''''''''''''''''''5'''''''">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5</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91" name="Text Placeholder 3">
            <a:extLst>
              <a:ext uri="{FF2B5EF4-FFF2-40B4-BE49-F238E27FC236}">
                <a16:creationId xmlns:a16="http://schemas.microsoft.com/office/drawing/2014/main" id="{07B0AD00-5069-4F2E-9A58-50558246284D}"/>
              </a:ext>
            </a:extLst>
          </p:cNvPr>
          <p:cNvSpPr>
            <a:spLocks noGrp="1"/>
          </p:cNvSpPr>
          <p:nvPr>
            <p:custDataLst>
              <p:tags r:id="rId10"/>
            </p:custDataLst>
          </p:nvPr>
        </p:nvSpPr>
        <p:spPr bwMode="gray">
          <a:xfrm>
            <a:off x="681038" y="3843338"/>
            <a:ext cx="142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349DC919-1CFA-4A8D-9FA6-5B74A029EE1D}" type="datetime'''''''''''''''1''''''''''''''''''0'''''''''''''''">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10</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92" name="Text Placeholder 3">
            <a:extLst>
              <a:ext uri="{FF2B5EF4-FFF2-40B4-BE49-F238E27FC236}">
                <a16:creationId xmlns:a16="http://schemas.microsoft.com/office/drawing/2014/main" id="{1E5C0E9B-D241-060A-C877-FEDCFF4ECC65}"/>
              </a:ext>
            </a:extLst>
          </p:cNvPr>
          <p:cNvSpPr>
            <a:spLocks noGrp="1"/>
          </p:cNvSpPr>
          <p:nvPr>
            <p:custDataLst>
              <p:tags r:id="rId11"/>
            </p:custDataLst>
          </p:nvPr>
        </p:nvSpPr>
        <p:spPr bwMode="gray">
          <a:xfrm>
            <a:off x="681038" y="3351213"/>
            <a:ext cx="142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7F60DD35-3A4D-4127-A105-BFCBB464498A}" type="datetime'''''''''1''''''''''''''''''''''''''''5'''''''''''''''''''''''">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15</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93" name="Text Placeholder 3">
            <a:extLst>
              <a:ext uri="{FF2B5EF4-FFF2-40B4-BE49-F238E27FC236}">
                <a16:creationId xmlns:a16="http://schemas.microsoft.com/office/drawing/2014/main" id="{50C6F82F-EF5C-3D22-F12A-74F47DE8A7D7}"/>
              </a:ext>
            </a:extLst>
          </p:cNvPr>
          <p:cNvSpPr>
            <a:spLocks noGrp="1"/>
          </p:cNvSpPr>
          <p:nvPr>
            <p:custDataLst>
              <p:tags r:id="rId12"/>
            </p:custDataLst>
          </p:nvPr>
        </p:nvSpPr>
        <p:spPr bwMode="gray">
          <a:xfrm>
            <a:off x="681038" y="2860675"/>
            <a:ext cx="142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A382A57C-21DC-4A43-AC7D-1D23A4D7C7CF}" type="datetime'''''''''''''''''''''''2''''0'''">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20</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94" name="Text Placeholder 3">
            <a:extLst>
              <a:ext uri="{FF2B5EF4-FFF2-40B4-BE49-F238E27FC236}">
                <a16:creationId xmlns:a16="http://schemas.microsoft.com/office/drawing/2014/main" id="{32D09D5A-C53D-2700-74A0-7E0F61F9F661}"/>
              </a:ext>
            </a:extLst>
          </p:cNvPr>
          <p:cNvSpPr>
            <a:spLocks noGrp="1"/>
          </p:cNvSpPr>
          <p:nvPr>
            <p:custDataLst>
              <p:tags r:id="rId13"/>
            </p:custDataLst>
          </p:nvPr>
        </p:nvSpPr>
        <p:spPr bwMode="gray">
          <a:xfrm>
            <a:off x="681038" y="2368550"/>
            <a:ext cx="1428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6EA6C99E-5566-42AE-BA3D-01EEEE8BC567}" type="datetime'''''''''''''''''''''''2''''''''''''''''''''''''5'''''''''''">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25</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3" name="Text Placeholder 3">
            <a:extLst>
              <a:ext uri="{FF2B5EF4-FFF2-40B4-BE49-F238E27FC236}">
                <a16:creationId xmlns:a16="http://schemas.microsoft.com/office/drawing/2014/main" id="{42434739-9156-8628-3E3E-45970E9A1627}"/>
              </a:ext>
            </a:extLst>
          </p:cNvPr>
          <p:cNvSpPr>
            <a:spLocks noGrp="1"/>
          </p:cNvSpPr>
          <p:nvPr>
            <p:custDataLst>
              <p:tags r:id="rId14"/>
            </p:custDataLst>
          </p:nvPr>
        </p:nvSpPr>
        <p:spPr bwMode="gray">
          <a:xfrm>
            <a:off x="4271963" y="2770188"/>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4A5A687E-E668-4AAD-8089-8B87AE5926F0}" type="datetime'''1''''''''''''.''''''''''''''''''5'''''''''''''''''''">
              <a:rPr kumimoji="0" lang="en-US" altLang="en-US" sz="1200" b="1"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1.5</a:t>
            </a:fld>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5" name="Text Placeholder 3">
            <a:extLst>
              <a:ext uri="{FF2B5EF4-FFF2-40B4-BE49-F238E27FC236}">
                <a16:creationId xmlns:a16="http://schemas.microsoft.com/office/drawing/2014/main" id="{6B3559CB-F2A5-5130-F133-A148F04FB3EC}"/>
              </a:ext>
            </a:extLst>
          </p:cNvPr>
          <p:cNvSpPr>
            <a:spLocks noGrp="1"/>
          </p:cNvSpPr>
          <p:nvPr>
            <p:custDataLst>
              <p:tags r:id="rId15"/>
            </p:custDataLst>
          </p:nvPr>
        </p:nvSpPr>
        <p:spPr bwMode="gray">
          <a:xfrm>
            <a:off x="1285875" y="3721100"/>
            <a:ext cx="334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E7704F41-AD5E-4890-B8E0-7D7BD9C74B8E}" type="datetime'''1''0''''''.''0'''''''''''''''''''''''''">
              <a:rPr kumimoji="0" lang="en-US" altLang="en-US" sz="1200" b="1"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10.0</a:t>
            </a:fld>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6" name="Text Placeholder 3">
            <a:extLst>
              <a:ext uri="{FF2B5EF4-FFF2-40B4-BE49-F238E27FC236}">
                <a16:creationId xmlns:a16="http://schemas.microsoft.com/office/drawing/2014/main" id="{0ED77656-039B-42E3-F9F1-4CD6EBDB6A4E}"/>
              </a:ext>
            </a:extLst>
          </p:cNvPr>
          <p:cNvSpPr>
            <a:spLocks noGrp="1"/>
          </p:cNvSpPr>
          <p:nvPr>
            <p:custDataLst>
              <p:tags r:id="rId16"/>
            </p:custDataLst>
          </p:nvPr>
        </p:nvSpPr>
        <p:spPr bwMode="gray">
          <a:xfrm>
            <a:off x="5254625" y="2703513"/>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r>
              <a:rPr kumimoji="0" lang="en-US" alt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rPr>
              <a:t>0.25</a:t>
            </a:r>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44" name="Text Placeholder 3">
            <a:extLst>
              <a:ext uri="{FF2B5EF4-FFF2-40B4-BE49-F238E27FC236}">
                <a16:creationId xmlns:a16="http://schemas.microsoft.com/office/drawing/2014/main" id="{A775A2E9-1001-D688-AD89-7B8357DF799A}"/>
              </a:ext>
            </a:extLst>
          </p:cNvPr>
          <p:cNvSpPr>
            <a:spLocks noGrp="1"/>
          </p:cNvSpPr>
          <p:nvPr>
            <p:custDataLst>
              <p:tags r:id="rId17"/>
            </p:custDataLst>
          </p:nvPr>
        </p:nvSpPr>
        <p:spPr bwMode="gray">
          <a:xfrm>
            <a:off x="3289300" y="2914650"/>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330E6AAC-FC30-4AE8-82DE-6C9CF2C7CE78}" type="datetime'''''''''''''''''''''''''''''''2.''''''''0'''''''''''''''''''">
              <a:rPr kumimoji="0" lang="en-US" altLang="en-US" sz="1200" b="1"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2.0</a:t>
            </a:fld>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61" name="Text Placeholder 3">
            <a:extLst>
              <a:ext uri="{FF2B5EF4-FFF2-40B4-BE49-F238E27FC236}">
                <a16:creationId xmlns:a16="http://schemas.microsoft.com/office/drawing/2014/main" id="{4E3157AD-F147-B20C-4C36-0BB9AA30A2E8}"/>
              </a:ext>
            </a:extLst>
          </p:cNvPr>
          <p:cNvSpPr>
            <a:spLocks noGrp="1"/>
          </p:cNvSpPr>
          <p:nvPr>
            <p:custDataLst>
              <p:tags r:id="rId18"/>
            </p:custDataLst>
          </p:nvPr>
        </p:nvSpPr>
        <p:spPr bwMode="gray">
          <a:xfrm>
            <a:off x="2306639" y="3092450"/>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C63AAD2F-AB31-4485-8AD9-5DEEFD4B120F}" type="datetime'''''''''''''''''''''''''''''''''''''''''''''6''''.''2'''''">
              <a:rPr kumimoji="0" lang="en-US" altLang="en-US" sz="1200" b="1"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6.2</a:t>
            </a:fld>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86" name="Text Placeholder 3">
            <a:extLst>
              <a:ext uri="{FF2B5EF4-FFF2-40B4-BE49-F238E27FC236}">
                <a16:creationId xmlns:a16="http://schemas.microsoft.com/office/drawing/2014/main" id="{9B5502BC-BAB2-3D26-8E4F-40BD81D9BB8A}"/>
              </a:ext>
            </a:extLst>
          </p:cNvPr>
          <p:cNvSpPr>
            <a:spLocks noGrp="1"/>
          </p:cNvSpPr>
          <p:nvPr>
            <p:custDataLst>
              <p:tags r:id="rId19"/>
            </p:custDataLst>
          </p:nvPr>
        </p:nvSpPr>
        <p:spPr bwMode="gray">
          <a:xfrm>
            <a:off x="6199189" y="2703513"/>
            <a:ext cx="3349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r>
              <a:rPr kumimoji="0" lang="en-US" alt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rPr>
              <a:t>20</a:t>
            </a:r>
            <a:endParaRPr kumimoji="0" lang="en-US" sz="1200" b="1"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13" name="Text Placeholder 3">
            <a:extLst>
              <a:ext uri="{FF2B5EF4-FFF2-40B4-BE49-F238E27FC236}">
                <a16:creationId xmlns:a16="http://schemas.microsoft.com/office/drawing/2014/main" id="{0D8E7835-C43E-5E1F-B240-70E570392136}"/>
              </a:ext>
            </a:extLst>
          </p:cNvPr>
          <p:cNvSpPr>
            <a:spLocks noGrp="1"/>
          </p:cNvSpPr>
          <p:nvPr>
            <p:custDataLst>
              <p:tags r:id="rId20"/>
            </p:custDataLst>
          </p:nvPr>
        </p:nvSpPr>
        <p:spPr bwMode="gray">
          <a:xfrm>
            <a:off x="6248400" y="435451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896C14F1-BF15-423E-BA10-2A608F00F44F}" type="datetime'''''''''''''''''''''''''9.''''''''5'''''''''''''''">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9.5</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14" name="Text Placeholder 3">
            <a:extLst>
              <a:ext uri="{FF2B5EF4-FFF2-40B4-BE49-F238E27FC236}">
                <a16:creationId xmlns:a16="http://schemas.microsoft.com/office/drawing/2014/main" id="{52EFF09D-8741-31E5-E874-8AB3A4437DCA}"/>
              </a:ext>
            </a:extLst>
          </p:cNvPr>
          <p:cNvSpPr>
            <a:spLocks noGrp="1"/>
          </p:cNvSpPr>
          <p:nvPr>
            <p:custDataLst>
              <p:tags r:id="rId21"/>
            </p:custDataLst>
          </p:nvPr>
        </p:nvSpPr>
        <p:spPr bwMode="gray">
          <a:xfrm>
            <a:off x="6248400" y="3502025"/>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A47ABFEE-7C07-4084-821E-B3BC10E3A5C6}" type="datetime'''''''''''''''''''''''''''''''''''''''''''''''''7''''.8'''''''">
              <a:rPr kumimoji="0" lang="en-US" altLang="en-US" sz="1100" b="0" i="0" u="none" strike="noStrike" kern="1200" cap="none" spc="0" normalizeH="0" baseline="0" noProof="0" smtClean="0">
                <a:ln>
                  <a:noFill/>
                </a:ln>
                <a:solidFill>
                  <a:prstClr val="white"/>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7.8</a:t>
            </a:fld>
            <a:endParaRPr kumimoji="0" lang="en-US" sz="1100" b="0" i="0" u="none" strike="noStrike" kern="1200" cap="none" spc="0" normalizeH="0" baseline="0" noProof="0">
              <a:ln>
                <a:noFill/>
              </a:ln>
              <a:solidFill>
                <a:prstClr val="white"/>
              </a:solidFill>
              <a:effectLst/>
              <a:uLnTx/>
              <a:uFillTx/>
              <a:latin typeface="Calibri"/>
              <a:ea typeface="+mn-ea"/>
              <a:cs typeface="+mn-cs"/>
              <a:sym typeface="Trebuchet MS" panose="020B0603020202020204" pitchFamily="34" charset="0"/>
            </a:endParaRPr>
          </a:p>
        </p:txBody>
      </p:sp>
      <p:sp>
        <p:nvSpPr>
          <p:cNvPr id="115" name="Text Placeholder 3">
            <a:extLst>
              <a:ext uri="{FF2B5EF4-FFF2-40B4-BE49-F238E27FC236}">
                <a16:creationId xmlns:a16="http://schemas.microsoft.com/office/drawing/2014/main" id="{0B308FA6-4568-DA8D-C55A-2A4A873D42D9}"/>
              </a:ext>
            </a:extLst>
          </p:cNvPr>
          <p:cNvSpPr>
            <a:spLocks noGrp="1"/>
          </p:cNvSpPr>
          <p:nvPr>
            <p:custDataLst>
              <p:tags r:id="rId22"/>
            </p:custDataLst>
          </p:nvPr>
        </p:nvSpPr>
        <p:spPr bwMode="gray">
          <a:xfrm>
            <a:off x="6248400" y="300831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131BFC7C-24C9-406A-BB62-7B487168E4F4}" type="datetime'''''''2''.''''''2'''''''''''''''''''''''''''''''''''''''''''">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2.2</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16" name="Text Placeholder 3">
            <a:extLst>
              <a:ext uri="{FF2B5EF4-FFF2-40B4-BE49-F238E27FC236}">
                <a16:creationId xmlns:a16="http://schemas.microsoft.com/office/drawing/2014/main" id="{8D56677A-2CC9-F90B-8CB6-AD1DEB9543AE}"/>
              </a:ext>
            </a:extLst>
          </p:cNvPr>
          <p:cNvSpPr>
            <a:spLocks noGrp="1"/>
          </p:cNvSpPr>
          <p:nvPr>
            <p:custDataLst>
              <p:tags r:id="rId23"/>
            </p:custDataLst>
          </p:nvPr>
        </p:nvSpPr>
        <p:spPr bwMode="gray">
          <a:xfrm>
            <a:off x="6248400" y="2868613"/>
            <a:ext cx="234950" cy="150813"/>
          </a:xfrm>
          <a:prstGeom prst="rect">
            <a:avLst/>
          </a:prstGeom>
          <a:solidFill>
            <a:schemeClr val="accent6"/>
          </a:solidFill>
          <a:ln>
            <a:noFill/>
          </a:ln>
          <a:effec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07F2136C-177B-4F8A-92AE-C398CBDD98AD}" type="datetime'''''''''''''''0''''''''''''''''''''''.''''''''6'''''">
              <a:rPr kumimoji="0" lang="en-US" altLang="en-US" sz="1100" b="0" i="0" u="none" strike="noStrike" kern="1200" cap="none" spc="0" normalizeH="0" baseline="0" noProof="0" smtClean="0">
                <a:ln>
                  <a:noFill/>
                </a:ln>
                <a:solidFill>
                  <a:prstClr val="white"/>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0.6</a:t>
            </a:fld>
            <a:endParaRPr kumimoji="0" lang="en-US" sz="1100" b="0" i="0" u="none" strike="noStrike" kern="1200" cap="none" spc="0" normalizeH="0" baseline="0" noProof="0">
              <a:ln>
                <a:noFill/>
              </a:ln>
              <a:solidFill>
                <a:prstClr val="white"/>
              </a:solidFill>
              <a:effectLst/>
              <a:uLnTx/>
              <a:uFillTx/>
              <a:latin typeface="Calibri"/>
              <a:ea typeface="+mn-ea"/>
              <a:cs typeface="+mn-cs"/>
              <a:sym typeface="Trebuchet MS" panose="020B0603020202020204" pitchFamily="34" charset="0"/>
            </a:endParaRPr>
          </a:p>
        </p:txBody>
      </p:sp>
      <p:sp>
        <p:nvSpPr>
          <p:cNvPr id="127" name="Text Placeholder 3">
            <a:extLst>
              <a:ext uri="{FF2B5EF4-FFF2-40B4-BE49-F238E27FC236}">
                <a16:creationId xmlns:a16="http://schemas.microsoft.com/office/drawing/2014/main" id="{7E5A156D-5AA8-B606-DCF6-03434297C102}"/>
              </a:ext>
            </a:extLst>
          </p:cNvPr>
          <p:cNvSpPr>
            <a:spLocks noGrp="1"/>
          </p:cNvSpPr>
          <p:nvPr>
            <p:custDataLst>
              <p:tags r:id="rId24"/>
            </p:custDataLst>
          </p:nvPr>
        </p:nvSpPr>
        <p:spPr bwMode="gray">
          <a:xfrm>
            <a:off x="1335088" y="4525963"/>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70D46CE6-EEE4-434C-90EB-A971ED041EDF}" type="datetime'''''''''''''6.''''''''''''''''''''''''''''''''''''''''''''0'">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6.0</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30" name="Text Placeholder 3">
            <a:extLst>
              <a:ext uri="{FF2B5EF4-FFF2-40B4-BE49-F238E27FC236}">
                <a16:creationId xmlns:a16="http://schemas.microsoft.com/office/drawing/2014/main" id="{A2375E32-F92F-975D-3CE3-46BC02FF3962}"/>
              </a:ext>
            </a:extLst>
          </p:cNvPr>
          <p:cNvSpPr>
            <a:spLocks noGrp="1"/>
          </p:cNvSpPr>
          <p:nvPr>
            <p:custDataLst>
              <p:tags r:id="rId25"/>
            </p:custDataLst>
          </p:nvPr>
        </p:nvSpPr>
        <p:spPr bwMode="gray">
          <a:xfrm>
            <a:off x="1335088" y="4033838"/>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E86377DA-8051-4D41-8543-819FA4740CB8}" type="datetime'4''''.''0'''''''''''''''''''''">
              <a:rPr kumimoji="0" lang="en-US" altLang="en-US" sz="1100" b="0" i="0" u="none" strike="noStrike" kern="1200" cap="none" spc="0" normalizeH="0" baseline="0" noProof="0" smtClean="0">
                <a:ln>
                  <a:noFill/>
                </a:ln>
                <a:solidFill>
                  <a:prstClr val="white"/>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4.0</a:t>
            </a:fld>
            <a:endParaRPr kumimoji="0" lang="en-US" sz="1100" b="0" i="0" u="none" strike="noStrike" kern="1200" cap="none" spc="0" normalizeH="0" baseline="0" noProof="0">
              <a:ln>
                <a:noFill/>
              </a:ln>
              <a:solidFill>
                <a:prstClr val="white"/>
              </a:solidFill>
              <a:effectLst/>
              <a:uLnTx/>
              <a:uFillTx/>
              <a:latin typeface="Calibri"/>
              <a:ea typeface="+mn-ea"/>
              <a:cs typeface="+mn-cs"/>
              <a:sym typeface="Trebuchet MS" panose="020B0603020202020204" pitchFamily="34" charset="0"/>
            </a:endParaRPr>
          </a:p>
        </p:txBody>
      </p:sp>
      <p:sp>
        <p:nvSpPr>
          <p:cNvPr id="133" name="Text Placeholder 3">
            <a:extLst>
              <a:ext uri="{FF2B5EF4-FFF2-40B4-BE49-F238E27FC236}">
                <a16:creationId xmlns:a16="http://schemas.microsoft.com/office/drawing/2014/main" id="{DE403BCE-7581-157B-9DEA-897C92082B26}"/>
              </a:ext>
            </a:extLst>
          </p:cNvPr>
          <p:cNvSpPr>
            <a:spLocks noGrp="1"/>
          </p:cNvSpPr>
          <p:nvPr>
            <p:custDataLst>
              <p:tags r:id="rId26"/>
            </p:custDataLst>
          </p:nvPr>
        </p:nvSpPr>
        <p:spPr bwMode="gray">
          <a:xfrm>
            <a:off x="2317750" y="368935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52CEF7D7-B3D2-4EAE-B69C-8DFB4BB24FE0}" type="datetime'''''''''3.''''''''''''''0'''''''''''''''''''">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3.0</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34" name="Text Placeholder 3">
            <a:extLst>
              <a:ext uri="{FF2B5EF4-FFF2-40B4-BE49-F238E27FC236}">
                <a16:creationId xmlns:a16="http://schemas.microsoft.com/office/drawing/2014/main" id="{ACB6EF07-DA2B-E369-E212-8D801870A50D}"/>
              </a:ext>
            </a:extLst>
          </p:cNvPr>
          <p:cNvSpPr>
            <a:spLocks noGrp="1"/>
          </p:cNvSpPr>
          <p:nvPr>
            <p:custDataLst>
              <p:tags r:id="rId27"/>
            </p:custDataLst>
          </p:nvPr>
        </p:nvSpPr>
        <p:spPr bwMode="gray">
          <a:xfrm>
            <a:off x="2165350" y="3522663"/>
            <a:ext cx="234950" cy="150813"/>
          </a:xfrm>
          <a:prstGeom prst="rect">
            <a:avLst/>
          </a:prstGeom>
          <a:solidFill>
            <a:schemeClr val="accent2"/>
          </a:solidFill>
          <a:ln>
            <a:noFill/>
          </a:ln>
          <a:effec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B65FBB26-52D9-4AF7-AE55-78FD7E51BC6B}" type="datetime'''''''''0''''''''''''''''''.4'''''''''''">
              <a:rPr kumimoji="0" lang="en-US" altLang="en-US" sz="1100" b="0" i="0" u="none" strike="noStrike" kern="1200" cap="none" spc="0" normalizeH="0" baseline="0" noProof="0" smtClean="0">
                <a:ln>
                  <a:noFill/>
                </a:ln>
                <a:solidFill>
                  <a:prstClr val="white"/>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0.4</a:t>
            </a:fld>
            <a:endParaRPr kumimoji="0" lang="en-US" sz="1100" b="0" i="0" u="none" strike="noStrike" kern="1200" cap="none" spc="0" normalizeH="0" baseline="0" noProof="0">
              <a:ln>
                <a:noFill/>
              </a:ln>
              <a:solidFill>
                <a:prstClr val="white"/>
              </a:solidFill>
              <a:effectLst/>
              <a:uLnTx/>
              <a:uFillTx/>
              <a:latin typeface="Calibri"/>
              <a:ea typeface="+mn-ea"/>
              <a:cs typeface="+mn-cs"/>
              <a:sym typeface="Trebuchet MS" panose="020B0603020202020204" pitchFamily="34" charset="0"/>
            </a:endParaRPr>
          </a:p>
        </p:txBody>
      </p:sp>
      <p:sp>
        <p:nvSpPr>
          <p:cNvPr id="135" name="Text Placeholder 3">
            <a:extLst>
              <a:ext uri="{FF2B5EF4-FFF2-40B4-BE49-F238E27FC236}">
                <a16:creationId xmlns:a16="http://schemas.microsoft.com/office/drawing/2014/main" id="{91A33739-9F21-BD7F-98F7-41B93094CE98}"/>
              </a:ext>
            </a:extLst>
          </p:cNvPr>
          <p:cNvSpPr>
            <a:spLocks noGrp="1"/>
          </p:cNvSpPr>
          <p:nvPr>
            <p:custDataLst>
              <p:tags r:id="rId28"/>
            </p:custDataLst>
          </p:nvPr>
        </p:nvSpPr>
        <p:spPr bwMode="gray">
          <a:xfrm>
            <a:off x="2471738" y="3397250"/>
            <a:ext cx="2349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DD06D801-2682-4538-B4E9-FBD102964F9C}" type="datetime'''''''''''''''''''''''2''.''2'''''''''''''''''''''''">
              <a:rPr kumimoji="0" lang="en-US" altLang="en-US" sz="1100" b="0" i="0" u="none" strike="noStrike" kern="1200" cap="none" spc="0" normalizeH="0" baseline="0" noProof="0" smtClean="0">
                <a:ln>
                  <a:noFill/>
                </a:ln>
                <a:solidFill>
                  <a:srgbClr val="404040"/>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2.2</a:t>
            </a:fld>
            <a:endParaRPr kumimoji="0" lang="en-US" sz="1100" b="0" i="0" u="none" strike="noStrike" kern="1200" cap="none" spc="0" normalizeH="0" baseline="0" noProof="0">
              <a:ln>
                <a:noFill/>
              </a:ln>
              <a:solidFill>
                <a:srgbClr val="404040"/>
              </a:solidFill>
              <a:effectLst/>
              <a:uLnTx/>
              <a:uFillTx/>
              <a:latin typeface="Calibri"/>
              <a:ea typeface="+mn-ea"/>
              <a:cs typeface="+mn-cs"/>
              <a:sym typeface="Trebuchet MS" panose="020B0603020202020204" pitchFamily="34" charset="0"/>
            </a:endParaRPr>
          </a:p>
        </p:txBody>
      </p:sp>
      <p:sp>
        <p:nvSpPr>
          <p:cNvPr id="136" name="Text Placeholder 3">
            <a:extLst>
              <a:ext uri="{FF2B5EF4-FFF2-40B4-BE49-F238E27FC236}">
                <a16:creationId xmlns:a16="http://schemas.microsoft.com/office/drawing/2014/main" id="{605F23C3-1B71-80D7-8554-3539731D230D}"/>
              </a:ext>
            </a:extLst>
          </p:cNvPr>
          <p:cNvSpPr>
            <a:spLocks noGrp="1"/>
          </p:cNvSpPr>
          <p:nvPr>
            <p:custDataLst>
              <p:tags r:id="rId29"/>
            </p:custDataLst>
          </p:nvPr>
        </p:nvSpPr>
        <p:spPr bwMode="gray">
          <a:xfrm>
            <a:off x="2317750" y="3257550"/>
            <a:ext cx="234950" cy="150813"/>
          </a:xfrm>
          <a:prstGeom prst="rect">
            <a:avLst/>
          </a:prstGeom>
          <a:solidFill>
            <a:schemeClr val="accent6"/>
          </a:solidFill>
          <a:ln>
            <a:noFill/>
          </a:ln>
          <a:effectLst/>
        </p:spPr>
        <p:txBody>
          <a:bodyPr vert="horz" wrap="none" lIns="28575" tIns="0" rIns="2857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FBF2A058-82F6-41B9-BE4C-0ED472B31C7B}" type="datetime'''''''''''''''''0''''''.''''''''''''''''''''''6'''''''''''''''">
              <a:rPr kumimoji="0" lang="en-US" altLang="en-US" sz="1100" b="0" i="0" u="none" strike="noStrike" kern="1200" cap="none" spc="0" normalizeH="0" baseline="0" noProof="0" smtClean="0">
                <a:ln>
                  <a:noFill/>
                </a:ln>
                <a:solidFill>
                  <a:prstClr val="white"/>
                </a:solidFill>
                <a:effectLst/>
                <a:uLnTx/>
                <a:uFillTx/>
                <a:latin typeface="Calibri"/>
                <a:ea typeface="+mn-ea"/>
                <a:cs typeface="+mn-cs"/>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0.6</a:t>
            </a:fld>
            <a:endParaRPr kumimoji="0" lang="en-US" sz="1100" b="0" i="0" u="none" strike="noStrike" kern="1200" cap="none" spc="0" normalizeH="0" baseline="0" noProof="0">
              <a:ln>
                <a:noFill/>
              </a:ln>
              <a:solidFill>
                <a:prstClr val="white"/>
              </a:solidFill>
              <a:effectLst/>
              <a:uLnTx/>
              <a:uFillTx/>
              <a:latin typeface="Calibri"/>
              <a:ea typeface="+mn-ea"/>
              <a:cs typeface="+mn-cs"/>
              <a:sym typeface="Trebuchet MS" panose="020B0603020202020204" pitchFamily="34" charset="0"/>
            </a:endParaRPr>
          </a:p>
        </p:txBody>
      </p:sp>
      <p:sp>
        <p:nvSpPr>
          <p:cNvPr id="156" name="Text Placeholder 3">
            <a:extLst>
              <a:ext uri="{FF2B5EF4-FFF2-40B4-BE49-F238E27FC236}">
                <a16:creationId xmlns:a16="http://schemas.microsoft.com/office/drawing/2014/main" id="{36059000-D881-9104-2BE8-3285D2D6A7F4}"/>
              </a:ext>
            </a:extLst>
          </p:cNvPr>
          <p:cNvSpPr>
            <a:spLocks noGrp="1"/>
          </p:cNvSpPr>
          <p:nvPr>
            <p:custDataLst>
              <p:tags r:id="rId30"/>
            </p:custDataLst>
          </p:nvPr>
        </p:nvSpPr>
        <p:spPr bwMode="gray">
          <a:xfrm>
            <a:off x="4087813" y="4987925"/>
            <a:ext cx="6270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BE78CD3E-E34E-40E6-B680-B9F32E34B466}" type="datetime'''''''''W''o''''''r''''kfo''r''''''''''c''''''e'''''''''''''">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Workforce</a:t>
            </a:fld>
            <a:endParaRPr kumimoji="0" lang="en-US" sz="1100" b="1" i="0" u="none" strike="noStrike" kern="1200" cap="none" spc="0" normalizeH="0" baseline="0" noProof="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57" name="Text Placeholder 3">
            <a:extLst>
              <a:ext uri="{FF2B5EF4-FFF2-40B4-BE49-F238E27FC236}">
                <a16:creationId xmlns:a16="http://schemas.microsoft.com/office/drawing/2014/main" id="{D8490D0C-60DD-A694-21B6-FCC9B75E4936}"/>
              </a:ext>
            </a:extLst>
          </p:cNvPr>
          <p:cNvSpPr>
            <a:spLocks noGrp="1"/>
          </p:cNvSpPr>
          <p:nvPr>
            <p:custDataLst>
              <p:tags r:id="rId31"/>
            </p:custDataLst>
          </p:nvPr>
        </p:nvSpPr>
        <p:spPr bwMode="gray">
          <a:xfrm>
            <a:off x="1930747" y="4987925"/>
            <a:ext cx="9588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7205445E-B671-4C9D-BDD5-6947C281FC30}" type="datetime'Batterie''s / C''''ri''''''t''''ical ''''''''Min''e''ral''s'''">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Batteries / Critical Minerals</a:t>
            </a:fld>
            <a:endParaRPr kumimoji="0" lang="en-US" sz="1100" b="1"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58" name="Text Placeholder 3">
            <a:extLst>
              <a:ext uri="{FF2B5EF4-FFF2-40B4-BE49-F238E27FC236}">
                <a16:creationId xmlns:a16="http://schemas.microsoft.com/office/drawing/2014/main" id="{F042C175-71A9-E8C2-367D-39AD375520C4}"/>
              </a:ext>
            </a:extLst>
          </p:cNvPr>
          <p:cNvSpPr>
            <a:spLocks noGrp="1"/>
          </p:cNvSpPr>
          <p:nvPr>
            <p:custDataLst>
              <p:tags r:id="rId32"/>
            </p:custDataLst>
          </p:nvPr>
        </p:nvSpPr>
        <p:spPr bwMode="gray">
          <a:xfrm>
            <a:off x="1125538" y="4987925"/>
            <a:ext cx="6540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8D2E49EB-A130-48D0-8C08-9F2DFDD0A014}" type="datetime'T''ax'' Cre''di''ts'''''''''' ''''/ ''''Reb''''''''a''te''s'''">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Tax Credits / Rebates</a:t>
            </a:fld>
            <a:endParaRPr kumimoji="0" lang="en-US" sz="1100" b="1"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59" name="Text Placeholder 3">
            <a:extLst>
              <a:ext uri="{FF2B5EF4-FFF2-40B4-BE49-F238E27FC236}">
                <a16:creationId xmlns:a16="http://schemas.microsoft.com/office/drawing/2014/main" id="{E0BEFFC7-16C2-8E78-97BD-3C0866B896F1}"/>
              </a:ext>
            </a:extLst>
          </p:cNvPr>
          <p:cNvSpPr>
            <a:spLocks noGrp="1"/>
          </p:cNvSpPr>
          <p:nvPr>
            <p:custDataLst>
              <p:tags r:id="rId33"/>
            </p:custDataLst>
          </p:nvPr>
        </p:nvSpPr>
        <p:spPr bwMode="gray">
          <a:xfrm>
            <a:off x="5125690" y="4987925"/>
            <a:ext cx="56673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68EC4D66-E94D-400C-9468-7DB359EB948E}" type="datetime'D''P''A'''''' H''''''''e''''at'' P''um''ps'''''''''''''''''">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DPA Heat Pumps</a:t>
            </a:fld>
            <a:endParaRPr kumimoji="0" lang="en-US" sz="1100" b="1"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60" name="Text Placeholder 3">
            <a:extLst>
              <a:ext uri="{FF2B5EF4-FFF2-40B4-BE49-F238E27FC236}">
                <a16:creationId xmlns:a16="http://schemas.microsoft.com/office/drawing/2014/main" id="{48F20A92-9ACE-078A-8AB7-A29A0B1A27BD}"/>
              </a:ext>
            </a:extLst>
          </p:cNvPr>
          <p:cNvSpPr>
            <a:spLocks noGrp="1"/>
          </p:cNvSpPr>
          <p:nvPr>
            <p:custDataLst>
              <p:tags r:id="rId34"/>
            </p:custDataLst>
          </p:nvPr>
        </p:nvSpPr>
        <p:spPr bwMode="gray">
          <a:xfrm>
            <a:off x="2952752" y="4987925"/>
            <a:ext cx="796924" cy="3683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DA0CABA0-FC62-432A-97DF-C5CE5BAA16EA}" type="datetime'''E''V ''M''''fg C''''''''''''''''o''''''''n''''v''e''rsio''n'">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EV Mfg Conversion</a:t>
            </a:fld>
            <a:endParaRPr kumimoji="0" lang="en-US" sz="1100" b="1"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161" name="Text Placeholder 3">
            <a:extLst>
              <a:ext uri="{FF2B5EF4-FFF2-40B4-BE49-F238E27FC236}">
                <a16:creationId xmlns:a16="http://schemas.microsoft.com/office/drawing/2014/main" id="{645944F4-FA5B-8B12-41D7-4AE062C11165}"/>
              </a:ext>
            </a:extLst>
          </p:cNvPr>
          <p:cNvSpPr>
            <a:spLocks noGrp="1"/>
          </p:cNvSpPr>
          <p:nvPr>
            <p:custDataLst>
              <p:tags r:id="rId35"/>
            </p:custDataLst>
          </p:nvPr>
        </p:nvSpPr>
        <p:spPr bwMode="gray">
          <a:xfrm>
            <a:off x="6211888" y="4987925"/>
            <a:ext cx="309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445B2812-AE0A-4A50-8653-3E28607B069B}" type="datetime'T''''''''''o''''''''''''''''''''tal'''''">
              <a:rPr kumimoji="0" lang="en-US" altLang="en-US" sz="1100" b="1"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Total</a:t>
            </a:fld>
            <a:endParaRPr kumimoji="0" lang="en-US" sz="1100" b="1" i="0" u="none" strike="noStrike" kern="1200" cap="none" spc="0" normalizeH="0" baseline="0" noProof="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8" name="Text Placeholder 3">
            <a:extLst>
              <a:ext uri="{FF2B5EF4-FFF2-40B4-BE49-F238E27FC236}">
                <a16:creationId xmlns:a16="http://schemas.microsoft.com/office/drawing/2014/main" id="{8AEBFF36-AAC5-9DCC-13D2-F49D44AA01AC}"/>
              </a:ext>
            </a:extLst>
          </p:cNvPr>
          <p:cNvSpPr>
            <a:spLocks noGrp="1"/>
          </p:cNvSpPr>
          <p:nvPr>
            <p:custDataLst>
              <p:tags r:id="rId36"/>
            </p:custDataLst>
          </p:nvPr>
        </p:nvSpPr>
        <p:spPr bwMode="gray">
          <a:xfrm>
            <a:off x="676284" y="1755007"/>
            <a:ext cx="4038592" cy="38893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r>
              <a:rPr kumimoji="0" lang="en-US" altLang="en-US" sz="2000" b="1"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sym typeface="Trebuchet MS" panose="020B0603020202020204" pitchFamily="34" charset="0"/>
              </a:rPr>
              <a:t>MESC INVESTMENTS ($B)</a:t>
            </a:r>
            <a:endParaRPr kumimoji="0" lang="en-US" sz="2000" b="1"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cxnSp>
        <p:nvCxnSpPr>
          <p:cNvPr id="17" name="Straight Connector 16">
            <a:extLst>
              <a:ext uri="{FF2B5EF4-FFF2-40B4-BE49-F238E27FC236}">
                <a16:creationId xmlns:a16="http://schemas.microsoft.com/office/drawing/2014/main" id="{C6EC0753-090A-F4E3-0DE3-4DC1A66C277F}"/>
              </a:ext>
            </a:extLst>
          </p:cNvPr>
          <p:cNvCxnSpPr>
            <a:cxnSpLocks/>
          </p:cNvCxnSpPr>
          <p:nvPr/>
        </p:nvCxnSpPr>
        <p:spPr>
          <a:xfrm>
            <a:off x="7510809" y="1862138"/>
            <a:ext cx="0" cy="3964027"/>
          </a:xfrm>
          <a:prstGeom prst="line">
            <a:avLst/>
          </a:prstGeom>
          <a:ln w="9525">
            <a:solidFill>
              <a:schemeClr val="tx1">
                <a:lumMod val="60000"/>
                <a:lumOff val="40000"/>
              </a:schemeClr>
            </a:solidFill>
            <a:miter lim="800000"/>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ABC1C33D-1F01-FC9C-74DE-008C2239EBAA}"/>
              </a:ext>
            </a:extLst>
          </p:cNvPr>
          <p:cNvSpPr/>
          <p:nvPr/>
        </p:nvSpPr>
        <p:spPr>
          <a:xfrm>
            <a:off x="7999324" y="2081213"/>
            <a:ext cx="868350" cy="868348"/>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1" u="none" strike="noStrike" kern="0" cap="none" spc="0" normalizeH="0" baseline="0" noProof="0" dirty="0">
              <a:ln>
                <a:noFill/>
              </a:ln>
              <a:solidFill>
                <a:srgbClr val="575757"/>
              </a:solidFill>
              <a:effectLst/>
              <a:uLnTx/>
              <a:uFillTx/>
              <a:latin typeface="Avenir Black" panose="02000503020000020003" pitchFamily="2" charset="0"/>
            </a:endParaRPr>
          </a:p>
        </p:txBody>
      </p:sp>
      <p:sp>
        <p:nvSpPr>
          <p:cNvPr id="19" name="BcgText 2">
            <a:extLst>
              <a:ext uri="{FF2B5EF4-FFF2-40B4-BE49-F238E27FC236}">
                <a16:creationId xmlns:a16="http://schemas.microsoft.com/office/drawing/2014/main" id="{3C79B58C-63B0-943D-E1E7-D6B3B7437E80}"/>
              </a:ext>
            </a:extLst>
          </p:cNvPr>
          <p:cNvSpPr txBox="1"/>
          <p:nvPr/>
        </p:nvSpPr>
        <p:spPr>
          <a:xfrm>
            <a:off x="9045766" y="2238388"/>
            <a:ext cx="2102005" cy="830997"/>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800" b="0" i="0" u="none" strike="noStrike" kern="1200" cap="none" spc="0" normalizeH="0" baseline="0" noProof="0" dirty="0">
                <a:ln>
                  <a:noFill/>
                </a:ln>
                <a:effectLst/>
                <a:uLnTx/>
                <a:uFillTx/>
                <a:latin typeface="Figtree" pitchFamily="2" charset="0"/>
                <a:sym typeface="Trebuchet MS" panose="020B0603020202020204" pitchFamily="34" charset="0"/>
              </a:rPr>
              <a:t>Amount outstanding to be invested</a:t>
            </a:r>
          </a:p>
        </p:txBody>
      </p:sp>
      <p:sp>
        <p:nvSpPr>
          <p:cNvPr id="20" name="Oval 19">
            <a:extLst>
              <a:ext uri="{FF2B5EF4-FFF2-40B4-BE49-F238E27FC236}">
                <a16:creationId xmlns:a16="http://schemas.microsoft.com/office/drawing/2014/main" id="{7A23D5F1-7AD9-B4BF-4A2D-5EAEE43BE508}"/>
              </a:ext>
            </a:extLst>
          </p:cNvPr>
          <p:cNvSpPr/>
          <p:nvPr/>
        </p:nvSpPr>
        <p:spPr>
          <a:xfrm>
            <a:off x="7999324" y="3409978"/>
            <a:ext cx="868350" cy="868348"/>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b="1" u="none" strike="noStrike" kern="0" cap="none" spc="0" normalizeH="0" baseline="0" noProof="0" dirty="0">
                <a:ln>
                  <a:noFill/>
                </a:ln>
                <a:solidFill>
                  <a:schemeClr val="tx2">
                    <a:lumMod val="75000"/>
                  </a:schemeClr>
                </a:solidFill>
                <a:effectLst/>
                <a:uLnTx/>
                <a:uFillTx/>
                <a:latin typeface="Figtree" pitchFamily="2" charset="0"/>
              </a:rPr>
              <a:t>$2.8B</a:t>
            </a:r>
          </a:p>
        </p:txBody>
      </p:sp>
      <p:sp>
        <p:nvSpPr>
          <p:cNvPr id="21" name="BcgText 2">
            <a:extLst>
              <a:ext uri="{FF2B5EF4-FFF2-40B4-BE49-F238E27FC236}">
                <a16:creationId xmlns:a16="http://schemas.microsoft.com/office/drawing/2014/main" id="{2B78866A-BCDA-189D-E7E9-33262FFE246A}"/>
              </a:ext>
            </a:extLst>
          </p:cNvPr>
          <p:cNvSpPr txBox="1"/>
          <p:nvPr/>
        </p:nvSpPr>
        <p:spPr>
          <a:xfrm>
            <a:off x="9045766" y="3567153"/>
            <a:ext cx="2518304" cy="553998"/>
          </a:xfrm>
          <a:prstGeom prst="rect">
            <a:avLst/>
          </a:prstGeom>
        </p:spPr>
        <p:txBody>
          <a:bodyPr vert="horz" wrap="square" lIns="0" tIns="0" rIns="0" bIns="0" rtlCol="0" anchor="ctr">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800" b="0" i="0" u="none" strike="noStrike" kern="1200" cap="none" spc="0" normalizeH="0" baseline="0" noProof="0">
                <a:ln>
                  <a:noFill/>
                </a:ln>
                <a:effectLst/>
                <a:uLnTx/>
                <a:uFillTx/>
                <a:latin typeface="Figtree" pitchFamily="2" charset="0"/>
                <a:sym typeface="Trebuchet MS" panose="020B0603020202020204" pitchFamily="34" charset="0"/>
              </a:rPr>
              <a:t>Invested in batteries and critical minerals, to-date</a:t>
            </a:r>
          </a:p>
        </p:txBody>
      </p:sp>
      <p:sp>
        <p:nvSpPr>
          <p:cNvPr id="22" name="Oval 21">
            <a:extLst>
              <a:ext uri="{FF2B5EF4-FFF2-40B4-BE49-F238E27FC236}">
                <a16:creationId xmlns:a16="http://schemas.microsoft.com/office/drawing/2014/main" id="{EF86F4D0-ABF4-FA54-1E06-CCAA65C3D0A2}"/>
              </a:ext>
            </a:extLst>
          </p:cNvPr>
          <p:cNvSpPr/>
          <p:nvPr/>
        </p:nvSpPr>
        <p:spPr>
          <a:xfrm>
            <a:off x="7999324" y="4738743"/>
            <a:ext cx="868350" cy="868348"/>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b="1" u="none" strike="noStrike" kern="0" cap="none" spc="0" normalizeH="0" baseline="0" noProof="0" dirty="0">
                <a:ln>
                  <a:noFill/>
                </a:ln>
                <a:solidFill>
                  <a:schemeClr val="tx2">
                    <a:lumMod val="75000"/>
                  </a:schemeClr>
                </a:solidFill>
                <a:effectLst/>
                <a:uLnTx/>
                <a:uFillTx/>
                <a:latin typeface="Figtree" pitchFamily="2" charset="0"/>
              </a:rPr>
              <a:t>~15%</a:t>
            </a:r>
          </a:p>
        </p:txBody>
      </p:sp>
      <p:sp>
        <p:nvSpPr>
          <p:cNvPr id="23" name="BcgText 2">
            <a:extLst>
              <a:ext uri="{FF2B5EF4-FFF2-40B4-BE49-F238E27FC236}">
                <a16:creationId xmlns:a16="http://schemas.microsoft.com/office/drawing/2014/main" id="{E47EFE4C-833A-B7FD-64B7-348C83D76AB9}"/>
              </a:ext>
            </a:extLst>
          </p:cNvPr>
          <p:cNvSpPr txBox="1"/>
          <p:nvPr/>
        </p:nvSpPr>
        <p:spPr>
          <a:xfrm>
            <a:off x="9045766" y="4895918"/>
            <a:ext cx="2518304" cy="830997"/>
          </a:xfrm>
          <a:prstGeom prst="rect">
            <a:avLst/>
          </a:prstGeom>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n-US" sz="1800" b="0" i="0" u="none" strike="noStrike" kern="1200" cap="none" spc="0" normalizeH="0" baseline="0" noProof="0">
                <a:ln>
                  <a:noFill/>
                </a:ln>
                <a:effectLst/>
                <a:uLnTx/>
                <a:uFillTx/>
                <a:latin typeface="Figtree" pitchFamily="2" charset="0"/>
                <a:sym typeface="Trebuchet MS" panose="020B0603020202020204" pitchFamily="34" charset="0"/>
              </a:rPr>
              <a:t>Funding awarded or with investment underway</a:t>
            </a:r>
          </a:p>
        </p:txBody>
      </p:sp>
      <p:sp>
        <p:nvSpPr>
          <p:cNvPr id="24" name="Rectangle 23">
            <a:extLst>
              <a:ext uri="{FF2B5EF4-FFF2-40B4-BE49-F238E27FC236}">
                <a16:creationId xmlns:a16="http://schemas.microsoft.com/office/drawing/2014/main" id="{173ABFEB-51F2-EBEA-195E-8B8F45EB0C2B}"/>
              </a:ext>
            </a:extLst>
          </p:cNvPr>
          <p:cNvSpPr/>
          <p:nvPr>
            <p:custDataLst>
              <p:tags r:id="rId37"/>
            </p:custDataLst>
          </p:nvPr>
        </p:nvSpPr>
        <p:spPr bwMode="gray">
          <a:xfrm>
            <a:off x="1565254" y="5659438"/>
            <a:ext cx="196850" cy="147638"/>
          </a:xfrm>
          <a:prstGeom prst="rect">
            <a:avLst/>
          </a:prstGeom>
          <a:solidFill>
            <a:schemeClr val="accent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5" name="Rectangle 24">
            <a:extLst>
              <a:ext uri="{FF2B5EF4-FFF2-40B4-BE49-F238E27FC236}">
                <a16:creationId xmlns:a16="http://schemas.microsoft.com/office/drawing/2014/main" id="{099A2F5A-2CE1-4E1A-C1A6-38F9E9083A53}"/>
              </a:ext>
            </a:extLst>
          </p:cNvPr>
          <p:cNvSpPr/>
          <p:nvPr>
            <p:custDataLst>
              <p:tags r:id="rId38"/>
            </p:custDataLst>
          </p:nvPr>
        </p:nvSpPr>
        <p:spPr bwMode="gray">
          <a:xfrm>
            <a:off x="2477370" y="5659438"/>
            <a:ext cx="196850" cy="147638"/>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1CB9E0F-1F2C-C7DA-5DE2-5087DABC2452}"/>
              </a:ext>
            </a:extLst>
          </p:cNvPr>
          <p:cNvSpPr/>
          <p:nvPr>
            <p:custDataLst>
              <p:tags r:id="rId39"/>
            </p:custDataLst>
          </p:nvPr>
        </p:nvSpPr>
        <p:spPr bwMode="gray">
          <a:xfrm>
            <a:off x="4180779" y="5659438"/>
            <a:ext cx="196850" cy="147638"/>
          </a:xfrm>
          <a:prstGeom prst="rect">
            <a:avLst/>
          </a:prstGeom>
          <a:solidFill>
            <a:schemeClr val="accent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5233054A-DCC2-47C6-8321-3BF48CDBC22C}"/>
              </a:ext>
            </a:extLst>
          </p:cNvPr>
          <p:cNvSpPr/>
          <p:nvPr>
            <p:custDataLst>
              <p:tags r:id="rId40"/>
            </p:custDataLst>
          </p:nvPr>
        </p:nvSpPr>
        <p:spPr bwMode="gray">
          <a:xfrm>
            <a:off x="5072084" y="5659438"/>
            <a:ext cx="196850" cy="147638"/>
          </a:xfrm>
          <a:prstGeom prst="rect">
            <a:avLst/>
          </a:prstGeom>
          <a:solidFill>
            <a:srgbClr val="B1B3B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28" name="Text Placeholder 3">
            <a:extLst>
              <a:ext uri="{FF2B5EF4-FFF2-40B4-BE49-F238E27FC236}">
                <a16:creationId xmlns:a16="http://schemas.microsoft.com/office/drawing/2014/main" id="{4D55E25B-790F-8B90-1BE7-6CEBA7D5DC47}"/>
              </a:ext>
            </a:extLst>
          </p:cNvPr>
          <p:cNvSpPr>
            <a:spLocks noGrp="1"/>
          </p:cNvSpPr>
          <p:nvPr>
            <p:custDataLst>
              <p:tags r:id="rId41"/>
            </p:custDataLst>
          </p:nvPr>
        </p:nvSpPr>
        <p:spPr bwMode="gray">
          <a:xfrm>
            <a:off x="1812905" y="5667375"/>
            <a:ext cx="5127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2E2B205E-EA5D-47DD-BF7B-FA130CDE0057}" type="datetime'''''''''A''w''''''''''a''r''d''''''''''e''''''''''''''''d'''">
              <a:rPr kumimoji="0" lang="en-US" altLang="en-US" sz="1100" b="0"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Awarded</a:t>
            </a:fld>
            <a:endParaRPr kumimoji="0" lang="en-US" sz="1100" b="0" i="0" u="none" strike="noStrike" kern="1200" cap="none" spc="0" normalizeH="0" baseline="0" noProof="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29" name="Text Placeholder 3">
            <a:extLst>
              <a:ext uri="{FF2B5EF4-FFF2-40B4-BE49-F238E27FC236}">
                <a16:creationId xmlns:a16="http://schemas.microsoft.com/office/drawing/2014/main" id="{CF3060B4-95DD-3944-89D3-3F96336CE8DF}"/>
              </a:ext>
            </a:extLst>
          </p:cNvPr>
          <p:cNvSpPr>
            <a:spLocks noGrp="1"/>
          </p:cNvSpPr>
          <p:nvPr>
            <p:custDataLst>
              <p:tags r:id="rId42"/>
            </p:custDataLst>
          </p:nvPr>
        </p:nvSpPr>
        <p:spPr bwMode="gray">
          <a:xfrm>
            <a:off x="2725020" y="5667375"/>
            <a:ext cx="12414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D9D89208-4718-482A-BD46-35250B0A054D}" type="datetime'In''v''e''s''tme''''nt ''''u''''nd''''''''e''r''w''''a''y'''">
              <a:rPr kumimoji="0" lang="en-US" altLang="en-US" sz="1100" b="0"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Investment underway</a:t>
            </a:fld>
            <a:endParaRPr kumimoji="0" lang="en-US" sz="1100" b="0"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30" name="Text Placeholder 3">
            <a:extLst>
              <a:ext uri="{FF2B5EF4-FFF2-40B4-BE49-F238E27FC236}">
                <a16:creationId xmlns:a16="http://schemas.microsoft.com/office/drawing/2014/main" id="{019CAB71-486E-AA69-5D2C-EB08203DF701}"/>
              </a:ext>
            </a:extLst>
          </p:cNvPr>
          <p:cNvSpPr>
            <a:spLocks noGrp="1"/>
          </p:cNvSpPr>
          <p:nvPr>
            <p:custDataLst>
              <p:tags r:id="rId43"/>
            </p:custDataLst>
          </p:nvPr>
        </p:nvSpPr>
        <p:spPr bwMode="gray">
          <a:xfrm>
            <a:off x="4428429" y="5667375"/>
            <a:ext cx="47942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BDB1F434-936E-45C1-988F-B40EF6E40524}" type="datetime'''''S''ol''''''ici''''''''t''''''e''''''''''''''''''''''''''d'">
              <a:rPr kumimoji="0" lang="en-US" altLang="en-US" sz="1100" b="0"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Solicited</a:t>
            </a:fld>
            <a:endParaRPr kumimoji="0" lang="en-US" sz="1100" b="0" i="0" u="none" strike="noStrike" kern="1200" cap="none" spc="0" normalizeH="0" baseline="0" noProof="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31" name="Text Placeholder 3">
            <a:extLst>
              <a:ext uri="{FF2B5EF4-FFF2-40B4-BE49-F238E27FC236}">
                <a16:creationId xmlns:a16="http://schemas.microsoft.com/office/drawing/2014/main" id="{413A0228-C841-537E-A46A-BCBC011FF775}"/>
              </a:ext>
            </a:extLst>
          </p:cNvPr>
          <p:cNvSpPr>
            <a:spLocks noGrp="1"/>
          </p:cNvSpPr>
          <p:nvPr>
            <p:custDataLst>
              <p:tags r:id="rId44"/>
            </p:custDataLst>
          </p:nvPr>
        </p:nvSpPr>
        <p:spPr bwMode="gray">
          <a:xfrm>
            <a:off x="5319734" y="5667375"/>
            <a:ext cx="828675"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kern="1200" baseline="0" dirty="0">
                <a:solidFill>
                  <a:schemeClr val="tx2"/>
                </a:solidFill>
                <a:latin typeface="+mn-lt"/>
                <a:ea typeface="+mn-ea"/>
                <a:cs typeface="+mn-cs"/>
                <a:sym typeface="Trebuchet MS" panose="020B0603020202020204" pitchFamily="34" charset="0"/>
              </a:defRPr>
            </a:lvl9pPr>
          </a:lstStyle>
          <a:p>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fld id="{2B31F257-EDAD-468A-993D-41C1EE1CEBE7}" type="datetime'''T''''''''o'''' ''''''''''b''''e i''''''n''''veste''d'''''''">
              <a:rPr kumimoji="0" lang="en-US" altLang="en-US" sz="1100" b="0" i="0" u="none" strike="noStrike" kern="1200" cap="none" spc="0" normalizeH="0" baseline="0" noProof="0" smtClean="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rPr>
              <a:pPr marL="0" marR="0" lvl="1" indent="0" algn="l"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t>To be invested</a:t>
            </a:fld>
            <a:endParaRPr kumimoji="0" lang="en-US" sz="1100" b="0" i="0" u="none" strike="noStrike" kern="1200" cap="none" spc="0" normalizeH="0" baseline="0" noProof="0" dirty="0">
              <a:ln>
                <a:noFill/>
              </a:ln>
              <a:solidFill>
                <a:srgbClr val="404040"/>
              </a:solidFill>
              <a:effectLst/>
              <a:uLnTx/>
              <a:uFillTx/>
              <a:latin typeface="Arial" panose="020B0604020202020204" pitchFamily="34" charset="0"/>
              <a:cs typeface="Arial" panose="020B0604020202020204" pitchFamily="34" charset="0"/>
              <a:sym typeface="Trebuchet MS" panose="020B0603020202020204" pitchFamily="34" charset="0"/>
            </a:endParaRPr>
          </a:p>
        </p:txBody>
      </p:sp>
      <p:sp>
        <p:nvSpPr>
          <p:cNvPr id="9" name="TextBox 8">
            <a:extLst>
              <a:ext uri="{FF2B5EF4-FFF2-40B4-BE49-F238E27FC236}">
                <a16:creationId xmlns:a16="http://schemas.microsoft.com/office/drawing/2014/main" id="{BEADD70C-6BC5-C2EE-A5FA-E2F89F686DCB}"/>
              </a:ext>
            </a:extLst>
          </p:cNvPr>
          <p:cNvSpPr txBox="1"/>
          <p:nvPr/>
        </p:nvSpPr>
        <p:spPr>
          <a:xfrm>
            <a:off x="8001771" y="2335915"/>
            <a:ext cx="919376" cy="358944"/>
          </a:xfrm>
          <a:prstGeom prst="rect">
            <a:avLst/>
          </a:prstGeom>
          <a:noFill/>
        </p:spPr>
        <p:txBody>
          <a:bodyPr wrap="squar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1" u="none" strike="noStrike" kern="0" cap="none" spc="0" normalizeH="0" baseline="0" noProof="0" dirty="0">
                <a:ln>
                  <a:noFill/>
                </a:ln>
                <a:solidFill>
                  <a:schemeClr val="tx2">
                    <a:lumMod val="75000"/>
                  </a:schemeClr>
                </a:solidFill>
                <a:effectLst/>
                <a:uLnTx/>
                <a:uFillTx/>
                <a:latin typeface="Figtree" pitchFamily="2" charset="0"/>
              </a:rPr>
              <a:t>$20B+</a:t>
            </a:r>
          </a:p>
        </p:txBody>
      </p:sp>
    </p:spTree>
    <p:extLst>
      <p:ext uri="{BB962C8B-B14F-4D97-AF65-F5344CB8AC3E}">
        <p14:creationId xmlns:p14="http://schemas.microsoft.com/office/powerpoint/2010/main" val="1037680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63" name="Object 62"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Title 15"/>
          <p:cNvSpPr>
            <a:spLocks noGrp="1"/>
          </p:cNvSpPr>
          <p:nvPr>
            <p:ph type="title"/>
          </p:nvPr>
        </p:nvSpPr>
        <p:spPr>
          <a:xfrm>
            <a:off x="725874" y="1819019"/>
            <a:ext cx="1743259" cy="461665"/>
          </a:xfrm>
        </p:spPr>
        <p:txBody>
          <a:bodyPr vert="horz" wrap="none" anchor="ctr">
            <a:noAutofit/>
          </a:bodyPr>
          <a:lstStyle/>
          <a:p>
            <a:pPr algn="l"/>
            <a:r>
              <a:rPr lang="en-US" sz="4800" dirty="0">
                <a:solidFill>
                  <a:srgbClr val="FFFFFF"/>
                </a:solidFill>
                <a:latin typeface="Avenir Book" panose="02000503020000020003" pitchFamily="2" charset="0"/>
              </a:rPr>
              <a:t>MESC’s </a:t>
            </a:r>
            <a:br>
              <a:rPr lang="en-US" sz="4800" dirty="0">
                <a:solidFill>
                  <a:srgbClr val="FFFFFF"/>
                </a:solidFill>
                <a:latin typeface="Avenir Book" panose="02000503020000020003" pitchFamily="2" charset="0"/>
              </a:rPr>
            </a:br>
            <a:r>
              <a:rPr lang="en-US" sz="4800" dirty="0">
                <a:solidFill>
                  <a:srgbClr val="FFFFFF"/>
                </a:solidFill>
                <a:latin typeface="Avenir Book" panose="02000503020000020003" pitchFamily="2" charset="0"/>
              </a:rPr>
              <a:t>Impacts </a:t>
            </a:r>
            <a:br>
              <a:rPr lang="en-US" sz="4800" dirty="0">
                <a:solidFill>
                  <a:srgbClr val="FFFFFF"/>
                </a:solidFill>
                <a:latin typeface="Avenir Book" panose="02000503020000020003" pitchFamily="2" charset="0"/>
              </a:rPr>
            </a:br>
            <a:r>
              <a:rPr lang="en-US" sz="4800" dirty="0">
                <a:solidFill>
                  <a:srgbClr val="FFFFFF"/>
                </a:solidFill>
                <a:latin typeface="Avenir Book" panose="02000503020000020003" pitchFamily="2" charset="0"/>
              </a:rPr>
              <a:t>To-Date</a:t>
            </a:r>
          </a:p>
        </p:txBody>
      </p:sp>
      <p:sp>
        <p:nvSpPr>
          <p:cNvPr id="7" name="Slide Number Placeholder 6">
            <a:extLst>
              <a:ext uri="{FF2B5EF4-FFF2-40B4-BE49-F238E27FC236}">
                <a16:creationId xmlns:a16="http://schemas.microsoft.com/office/drawing/2014/main" id="{8EC3DF91-4D22-496B-1202-5C14562361E0}"/>
              </a:ext>
            </a:extLst>
          </p:cNvPr>
          <p:cNvSpPr>
            <a:spLocks noGrp="1"/>
          </p:cNvSpPr>
          <p:nvPr>
            <p:ph type="sldNum" sz="quarter" idx="4"/>
          </p:nvPr>
        </p:nvSpPr>
        <p:spPr>
          <a:xfrm>
            <a:off x="9973953" y="6311808"/>
            <a:ext cx="508000" cy="153888"/>
          </a:xfrm>
        </p:spPr>
        <p:txBody>
          <a:bodyPr/>
          <a:lstStyle/>
          <a:p>
            <a:fld id="{02B5F485-982A-41B4-B657-C5770F0E9220}" type="slidenum">
              <a:rPr lang="en-US" smtClean="0"/>
              <a:pPr/>
              <a:t>17</a:t>
            </a:fld>
            <a:endParaRPr lang="en-US" dirty="0"/>
          </a:p>
        </p:txBody>
      </p:sp>
      <p:sp>
        <p:nvSpPr>
          <p:cNvPr id="49" name="ee4pContent1"/>
          <p:cNvSpPr txBox="1"/>
          <p:nvPr>
            <p:custDataLst>
              <p:tags r:id="rId3"/>
            </p:custDataLst>
          </p:nvPr>
        </p:nvSpPr>
        <p:spPr>
          <a:xfrm>
            <a:off x="5122592" y="396355"/>
            <a:ext cx="6221807" cy="321627"/>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pPr>
            <a:r>
              <a:rPr lang="en-US" sz="2000" b="1" dirty="0">
                <a:solidFill>
                  <a:srgbClr val="FFFFFF"/>
                </a:solidFill>
                <a:latin typeface="Calibri" panose="020F0502020204030204" pitchFamily="34" charset="0"/>
                <a:cs typeface="Calibri" panose="020F0502020204030204" pitchFamily="34" charset="0"/>
              </a:rPr>
              <a:t>$3.9B+ private sector investment catalyzed</a:t>
            </a:r>
          </a:p>
        </p:txBody>
      </p:sp>
      <p:sp>
        <p:nvSpPr>
          <p:cNvPr id="51" name="ee4pContent1"/>
          <p:cNvSpPr txBox="1"/>
          <p:nvPr>
            <p:custDataLst>
              <p:tags r:id="rId4"/>
            </p:custDataLst>
          </p:nvPr>
        </p:nvSpPr>
        <p:spPr>
          <a:xfrm>
            <a:off x="5119602" y="3706277"/>
            <a:ext cx="5150449" cy="321627"/>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buNone/>
            </a:pPr>
            <a:r>
              <a:rPr lang="en-US" sz="2000" b="1">
                <a:solidFill>
                  <a:srgbClr val="FFFFFF"/>
                </a:solidFill>
                <a:latin typeface="Calibri" panose="020F0502020204030204" pitchFamily="34" charset="0"/>
                <a:cs typeface="Calibri" panose="020F0502020204030204" pitchFamily="34" charset="0"/>
              </a:rPr>
              <a:t>1000+ students trained annually</a:t>
            </a:r>
          </a:p>
        </p:txBody>
      </p:sp>
      <p:sp>
        <p:nvSpPr>
          <p:cNvPr id="86" name="ee4pContent1">
            <a:extLst>
              <a:ext uri="{FF2B5EF4-FFF2-40B4-BE49-F238E27FC236}">
                <a16:creationId xmlns:a16="http://schemas.microsoft.com/office/drawing/2014/main" id="{2D062163-B149-7E9B-F34F-F726270BFD90}"/>
              </a:ext>
            </a:extLst>
          </p:cNvPr>
          <p:cNvSpPr txBox="1"/>
          <p:nvPr>
            <p:custDataLst>
              <p:tags r:id="rId5"/>
            </p:custDataLst>
          </p:nvPr>
        </p:nvSpPr>
        <p:spPr>
          <a:xfrm>
            <a:off x="5140623" y="2448174"/>
            <a:ext cx="5150449" cy="660181"/>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pPr>
            <a:r>
              <a:rPr lang="en-US" sz="2000" b="1" dirty="0">
                <a:solidFill>
                  <a:srgbClr val="FFFFFF"/>
                </a:solidFill>
                <a:latin typeface="Calibri" panose="020F0502020204030204" pitchFamily="34" charset="0"/>
                <a:cs typeface="Calibri" panose="020F0502020204030204" pitchFamily="34" charset="0"/>
              </a:rPr>
              <a:t>38% of investments in energy communities or J40 communities</a:t>
            </a:r>
          </a:p>
        </p:txBody>
      </p:sp>
      <p:sp>
        <p:nvSpPr>
          <p:cNvPr id="47" name="ee4pContent1"/>
          <p:cNvSpPr txBox="1"/>
          <p:nvPr>
            <p:custDataLst>
              <p:tags r:id="rId6"/>
            </p:custDataLst>
          </p:nvPr>
        </p:nvSpPr>
        <p:spPr>
          <a:xfrm>
            <a:off x="5140623" y="4768040"/>
            <a:ext cx="5150449" cy="321627"/>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pPr>
            <a:r>
              <a:rPr lang="en-US" sz="2000" b="1">
                <a:solidFill>
                  <a:srgbClr val="FFFFFF"/>
                </a:solidFill>
                <a:latin typeface="Calibri" panose="020F0502020204030204" pitchFamily="34" charset="0"/>
                <a:cs typeface="Calibri" panose="020F0502020204030204" pitchFamily="34" charset="0"/>
              </a:rPr>
              <a:t>1.3M+ EVs enabled annually</a:t>
            </a:r>
          </a:p>
        </p:txBody>
      </p:sp>
      <p:grpSp>
        <p:nvGrpSpPr>
          <p:cNvPr id="38" name="Group 37">
            <a:extLst>
              <a:ext uri="{FF2B5EF4-FFF2-40B4-BE49-F238E27FC236}">
                <a16:creationId xmlns:a16="http://schemas.microsoft.com/office/drawing/2014/main" id="{58F7DBA2-0D53-C4E6-1008-819741374B6E}"/>
              </a:ext>
            </a:extLst>
          </p:cNvPr>
          <p:cNvGrpSpPr/>
          <p:nvPr/>
        </p:nvGrpSpPr>
        <p:grpSpPr>
          <a:xfrm>
            <a:off x="4190128" y="3465944"/>
            <a:ext cx="802294" cy="802294"/>
            <a:chOff x="5026620" y="4101685"/>
            <a:chExt cx="1067853" cy="1067853"/>
          </a:xfrm>
        </p:grpSpPr>
        <p:grpSp>
          <p:nvGrpSpPr>
            <p:cNvPr id="79" name="bcgBugs_Graduation Cap ">
              <a:extLst>
                <a:ext uri="{FF2B5EF4-FFF2-40B4-BE49-F238E27FC236}">
                  <a16:creationId xmlns:a16="http://schemas.microsoft.com/office/drawing/2014/main" id="{72F86A32-6D91-7E80-83D2-F844E23006C5}"/>
                </a:ext>
              </a:extLst>
            </p:cNvPr>
            <p:cNvGrpSpPr>
              <a:grpSpLocks noChangeAspect="1"/>
            </p:cNvGrpSpPr>
            <p:nvPr/>
          </p:nvGrpSpPr>
          <p:grpSpPr bwMode="auto">
            <a:xfrm>
              <a:off x="5123965" y="4199031"/>
              <a:ext cx="873162" cy="873162"/>
              <a:chOff x="2652" y="972"/>
              <a:chExt cx="2376" cy="2376"/>
            </a:xfrm>
          </p:grpSpPr>
          <p:sp>
            <p:nvSpPr>
              <p:cNvPr id="81" name="AutoShape 4">
                <a:extLst>
                  <a:ext uri="{FF2B5EF4-FFF2-40B4-BE49-F238E27FC236}">
                    <a16:creationId xmlns:a16="http://schemas.microsoft.com/office/drawing/2014/main" id="{F009E44D-1E45-ED0A-4F35-705CE5FA6076}"/>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9">
                <a:extLst>
                  <a:ext uri="{FF2B5EF4-FFF2-40B4-BE49-F238E27FC236}">
                    <a16:creationId xmlns:a16="http://schemas.microsoft.com/office/drawing/2014/main" id="{F0D5F517-CE10-48C2-F7C7-95A8C39EDF35}"/>
                  </a:ext>
                </a:extLst>
              </p:cNvPr>
              <p:cNvSpPr>
                <a:spLocks noEditPoints="1"/>
              </p:cNvSpPr>
              <p:nvPr/>
            </p:nvSpPr>
            <p:spPr bwMode="auto">
              <a:xfrm>
                <a:off x="2787" y="1753"/>
                <a:ext cx="2083" cy="989"/>
              </a:xfrm>
              <a:custGeom>
                <a:avLst/>
                <a:gdLst>
                  <a:gd name="T0" fmla="*/ 645 w 876"/>
                  <a:gd name="T1" fmla="*/ 200 h 416"/>
                  <a:gd name="T2" fmla="*/ 231 w 876"/>
                  <a:gd name="T3" fmla="*/ 200 h 416"/>
                  <a:gd name="T4" fmla="*/ 222 w 876"/>
                  <a:gd name="T5" fmla="*/ 211 h 416"/>
                  <a:gd name="T6" fmla="*/ 222 w 876"/>
                  <a:gd name="T7" fmla="*/ 325 h 416"/>
                  <a:gd name="T8" fmla="*/ 231 w 876"/>
                  <a:gd name="T9" fmla="*/ 331 h 416"/>
                  <a:gd name="T10" fmla="*/ 645 w 876"/>
                  <a:gd name="T11" fmla="*/ 331 h 416"/>
                  <a:gd name="T12" fmla="*/ 654 w 876"/>
                  <a:gd name="T13" fmla="*/ 325 h 416"/>
                  <a:gd name="T14" fmla="*/ 654 w 876"/>
                  <a:gd name="T15" fmla="*/ 211 h 416"/>
                  <a:gd name="T16" fmla="*/ 645 w 876"/>
                  <a:gd name="T17" fmla="*/ 200 h 416"/>
                  <a:gd name="T18" fmla="*/ 870 w 876"/>
                  <a:gd name="T19" fmla="*/ 167 h 416"/>
                  <a:gd name="T20" fmla="*/ 443 w 876"/>
                  <a:gd name="T21" fmla="*/ 1 h 416"/>
                  <a:gd name="T22" fmla="*/ 436 w 876"/>
                  <a:gd name="T23" fmla="*/ 1 h 416"/>
                  <a:gd name="T24" fmla="*/ 6 w 876"/>
                  <a:gd name="T25" fmla="*/ 167 h 416"/>
                  <a:gd name="T26" fmla="*/ 0 w 876"/>
                  <a:gd name="T27" fmla="*/ 175 h 416"/>
                  <a:gd name="T28" fmla="*/ 5 w 876"/>
                  <a:gd name="T29" fmla="*/ 183 h 416"/>
                  <a:gd name="T30" fmla="*/ 112 w 876"/>
                  <a:gd name="T31" fmla="*/ 228 h 416"/>
                  <a:gd name="T32" fmla="*/ 112 w 876"/>
                  <a:gd name="T33" fmla="*/ 316 h 416"/>
                  <a:gd name="T34" fmla="*/ 101 w 876"/>
                  <a:gd name="T35" fmla="*/ 334 h 416"/>
                  <a:gd name="T36" fmla="*/ 109 w 876"/>
                  <a:gd name="T37" fmla="*/ 350 h 416"/>
                  <a:gd name="T38" fmla="*/ 90 w 876"/>
                  <a:gd name="T39" fmla="*/ 416 h 416"/>
                  <a:gd name="T40" fmla="*/ 105 w 876"/>
                  <a:gd name="T41" fmla="*/ 416 h 416"/>
                  <a:gd name="T42" fmla="*/ 138 w 876"/>
                  <a:gd name="T43" fmla="*/ 416 h 416"/>
                  <a:gd name="T44" fmla="*/ 152 w 876"/>
                  <a:gd name="T45" fmla="*/ 416 h 416"/>
                  <a:gd name="T46" fmla="*/ 134 w 876"/>
                  <a:gd name="T47" fmla="*/ 350 h 416"/>
                  <a:gd name="T48" fmla="*/ 142 w 876"/>
                  <a:gd name="T49" fmla="*/ 334 h 416"/>
                  <a:gd name="T50" fmla="*/ 131 w 876"/>
                  <a:gd name="T51" fmla="*/ 316 h 416"/>
                  <a:gd name="T52" fmla="*/ 131 w 876"/>
                  <a:gd name="T53" fmla="*/ 236 h 416"/>
                  <a:gd name="T54" fmla="*/ 204 w 876"/>
                  <a:gd name="T55" fmla="*/ 267 h 416"/>
                  <a:gd name="T56" fmla="*/ 204 w 876"/>
                  <a:gd name="T57" fmla="*/ 257 h 416"/>
                  <a:gd name="T58" fmla="*/ 204 w 876"/>
                  <a:gd name="T59" fmla="*/ 247 h 416"/>
                  <a:gd name="T60" fmla="*/ 204 w 876"/>
                  <a:gd name="T61" fmla="*/ 201 h 416"/>
                  <a:gd name="T62" fmla="*/ 218 w 876"/>
                  <a:gd name="T63" fmla="*/ 184 h 416"/>
                  <a:gd name="T64" fmla="*/ 364 w 876"/>
                  <a:gd name="T65" fmla="*/ 157 h 416"/>
                  <a:gd name="T66" fmla="*/ 438 w 876"/>
                  <a:gd name="T67" fmla="*/ 154 h 416"/>
                  <a:gd name="T68" fmla="*/ 512 w 876"/>
                  <a:gd name="T69" fmla="*/ 157 h 416"/>
                  <a:gd name="T70" fmla="*/ 658 w 876"/>
                  <a:gd name="T71" fmla="*/ 184 h 416"/>
                  <a:gd name="T72" fmla="*/ 672 w 876"/>
                  <a:gd name="T73" fmla="*/ 201 h 416"/>
                  <a:gd name="T74" fmla="*/ 672 w 876"/>
                  <a:gd name="T75" fmla="*/ 247 h 416"/>
                  <a:gd name="T76" fmla="*/ 672 w 876"/>
                  <a:gd name="T77" fmla="*/ 257 h 416"/>
                  <a:gd name="T78" fmla="*/ 672 w 876"/>
                  <a:gd name="T79" fmla="*/ 267 h 416"/>
                  <a:gd name="T80" fmla="*/ 871 w 876"/>
                  <a:gd name="T81" fmla="*/ 183 h 416"/>
                  <a:gd name="T82" fmla="*/ 876 w 876"/>
                  <a:gd name="T83" fmla="*/ 175 h 416"/>
                  <a:gd name="T84" fmla="*/ 870 w 876"/>
                  <a:gd name="T85" fmla="*/ 16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6" h="416">
                    <a:moveTo>
                      <a:pt x="645" y="200"/>
                    </a:moveTo>
                    <a:cubicBezTo>
                      <a:pt x="507" y="166"/>
                      <a:pt x="369" y="166"/>
                      <a:pt x="231" y="200"/>
                    </a:cubicBezTo>
                    <a:cubicBezTo>
                      <a:pt x="226" y="201"/>
                      <a:pt x="222" y="206"/>
                      <a:pt x="222" y="211"/>
                    </a:cubicBezTo>
                    <a:cubicBezTo>
                      <a:pt x="222" y="325"/>
                      <a:pt x="222" y="325"/>
                      <a:pt x="222" y="325"/>
                    </a:cubicBezTo>
                    <a:cubicBezTo>
                      <a:pt x="222" y="330"/>
                      <a:pt x="226" y="333"/>
                      <a:pt x="231" y="331"/>
                    </a:cubicBezTo>
                    <a:cubicBezTo>
                      <a:pt x="369" y="298"/>
                      <a:pt x="507" y="298"/>
                      <a:pt x="645" y="331"/>
                    </a:cubicBezTo>
                    <a:cubicBezTo>
                      <a:pt x="650" y="333"/>
                      <a:pt x="654" y="330"/>
                      <a:pt x="654" y="325"/>
                    </a:cubicBezTo>
                    <a:cubicBezTo>
                      <a:pt x="654" y="211"/>
                      <a:pt x="654" y="211"/>
                      <a:pt x="654" y="211"/>
                    </a:cubicBezTo>
                    <a:cubicBezTo>
                      <a:pt x="654" y="206"/>
                      <a:pt x="650" y="201"/>
                      <a:pt x="645" y="200"/>
                    </a:cubicBezTo>
                    <a:close/>
                    <a:moveTo>
                      <a:pt x="870" y="167"/>
                    </a:moveTo>
                    <a:cubicBezTo>
                      <a:pt x="443" y="1"/>
                      <a:pt x="443" y="1"/>
                      <a:pt x="443" y="1"/>
                    </a:cubicBezTo>
                    <a:cubicBezTo>
                      <a:pt x="441" y="0"/>
                      <a:pt x="438" y="0"/>
                      <a:pt x="436" y="1"/>
                    </a:cubicBezTo>
                    <a:cubicBezTo>
                      <a:pt x="6" y="167"/>
                      <a:pt x="6" y="167"/>
                      <a:pt x="6" y="167"/>
                    </a:cubicBezTo>
                    <a:cubicBezTo>
                      <a:pt x="2" y="168"/>
                      <a:pt x="0" y="171"/>
                      <a:pt x="0" y="175"/>
                    </a:cubicBezTo>
                    <a:cubicBezTo>
                      <a:pt x="0" y="179"/>
                      <a:pt x="2" y="182"/>
                      <a:pt x="5" y="183"/>
                    </a:cubicBezTo>
                    <a:cubicBezTo>
                      <a:pt x="112" y="228"/>
                      <a:pt x="112" y="228"/>
                      <a:pt x="112" y="228"/>
                    </a:cubicBezTo>
                    <a:cubicBezTo>
                      <a:pt x="112" y="316"/>
                      <a:pt x="112" y="316"/>
                      <a:pt x="112" y="316"/>
                    </a:cubicBezTo>
                    <a:cubicBezTo>
                      <a:pt x="105" y="319"/>
                      <a:pt x="101" y="326"/>
                      <a:pt x="101" y="334"/>
                    </a:cubicBezTo>
                    <a:cubicBezTo>
                      <a:pt x="101" y="341"/>
                      <a:pt x="104" y="347"/>
                      <a:pt x="109" y="350"/>
                    </a:cubicBezTo>
                    <a:cubicBezTo>
                      <a:pt x="90" y="416"/>
                      <a:pt x="90" y="416"/>
                      <a:pt x="90" y="416"/>
                    </a:cubicBezTo>
                    <a:cubicBezTo>
                      <a:pt x="105" y="416"/>
                      <a:pt x="105" y="416"/>
                      <a:pt x="105" y="416"/>
                    </a:cubicBezTo>
                    <a:cubicBezTo>
                      <a:pt x="138" y="416"/>
                      <a:pt x="138" y="416"/>
                      <a:pt x="138" y="416"/>
                    </a:cubicBezTo>
                    <a:cubicBezTo>
                      <a:pt x="152" y="416"/>
                      <a:pt x="152" y="416"/>
                      <a:pt x="152" y="416"/>
                    </a:cubicBezTo>
                    <a:cubicBezTo>
                      <a:pt x="134" y="350"/>
                      <a:pt x="134" y="350"/>
                      <a:pt x="134" y="350"/>
                    </a:cubicBezTo>
                    <a:cubicBezTo>
                      <a:pt x="139" y="347"/>
                      <a:pt x="142" y="341"/>
                      <a:pt x="142" y="334"/>
                    </a:cubicBezTo>
                    <a:cubicBezTo>
                      <a:pt x="142" y="326"/>
                      <a:pt x="137" y="319"/>
                      <a:pt x="131" y="316"/>
                    </a:cubicBezTo>
                    <a:cubicBezTo>
                      <a:pt x="131" y="236"/>
                      <a:pt x="131" y="236"/>
                      <a:pt x="131" y="236"/>
                    </a:cubicBezTo>
                    <a:cubicBezTo>
                      <a:pt x="204" y="267"/>
                      <a:pt x="204" y="267"/>
                      <a:pt x="204" y="267"/>
                    </a:cubicBezTo>
                    <a:cubicBezTo>
                      <a:pt x="204" y="257"/>
                      <a:pt x="204" y="257"/>
                      <a:pt x="204" y="257"/>
                    </a:cubicBezTo>
                    <a:cubicBezTo>
                      <a:pt x="204" y="247"/>
                      <a:pt x="204" y="247"/>
                      <a:pt x="204" y="247"/>
                    </a:cubicBezTo>
                    <a:cubicBezTo>
                      <a:pt x="204" y="201"/>
                      <a:pt x="204" y="201"/>
                      <a:pt x="204" y="201"/>
                    </a:cubicBezTo>
                    <a:cubicBezTo>
                      <a:pt x="204" y="193"/>
                      <a:pt x="210" y="186"/>
                      <a:pt x="218" y="184"/>
                    </a:cubicBezTo>
                    <a:cubicBezTo>
                      <a:pt x="265" y="171"/>
                      <a:pt x="315" y="162"/>
                      <a:pt x="364" y="157"/>
                    </a:cubicBezTo>
                    <a:cubicBezTo>
                      <a:pt x="388" y="155"/>
                      <a:pt x="413" y="154"/>
                      <a:pt x="438" y="154"/>
                    </a:cubicBezTo>
                    <a:cubicBezTo>
                      <a:pt x="463" y="154"/>
                      <a:pt x="488" y="155"/>
                      <a:pt x="512" y="157"/>
                    </a:cubicBezTo>
                    <a:cubicBezTo>
                      <a:pt x="561" y="162"/>
                      <a:pt x="611" y="171"/>
                      <a:pt x="658" y="184"/>
                    </a:cubicBezTo>
                    <a:cubicBezTo>
                      <a:pt x="666" y="186"/>
                      <a:pt x="672" y="193"/>
                      <a:pt x="672" y="201"/>
                    </a:cubicBezTo>
                    <a:cubicBezTo>
                      <a:pt x="672" y="247"/>
                      <a:pt x="672" y="247"/>
                      <a:pt x="672" y="247"/>
                    </a:cubicBezTo>
                    <a:cubicBezTo>
                      <a:pt x="672" y="257"/>
                      <a:pt x="672" y="257"/>
                      <a:pt x="672" y="257"/>
                    </a:cubicBezTo>
                    <a:cubicBezTo>
                      <a:pt x="672" y="267"/>
                      <a:pt x="672" y="267"/>
                      <a:pt x="672" y="267"/>
                    </a:cubicBezTo>
                    <a:cubicBezTo>
                      <a:pt x="871" y="183"/>
                      <a:pt x="871" y="183"/>
                      <a:pt x="871" y="183"/>
                    </a:cubicBezTo>
                    <a:cubicBezTo>
                      <a:pt x="874" y="182"/>
                      <a:pt x="876" y="179"/>
                      <a:pt x="876" y="175"/>
                    </a:cubicBezTo>
                    <a:cubicBezTo>
                      <a:pt x="876" y="171"/>
                      <a:pt x="874" y="168"/>
                      <a:pt x="870"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0" name="Oval 79">
              <a:extLst>
                <a:ext uri="{FF2B5EF4-FFF2-40B4-BE49-F238E27FC236}">
                  <a16:creationId xmlns:a16="http://schemas.microsoft.com/office/drawing/2014/main" id="{DE29AE07-3045-0205-BF9E-9217444850AF}"/>
                </a:ext>
              </a:extLst>
            </p:cNvPr>
            <p:cNvSpPr/>
            <p:nvPr/>
          </p:nvSpPr>
          <p:spPr>
            <a:xfrm>
              <a:off x="5026620" y="4101685"/>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grpSp>
      <p:grpSp>
        <p:nvGrpSpPr>
          <p:cNvPr id="39" name="Group 38">
            <a:extLst>
              <a:ext uri="{FF2B5EF4-FFF2-40B4-BE49-F238E27FC236}">
                <a16:creationId xmlns:a16="http://schemas.microsoft.com/office/drawing/2014/main" id="{BB021F64-B86D-E1DE-7975-033594EBEA18}"/>
              </a:ext>
            </a:extLst>
          </p:cNvPr>
          <p:cNvGrpSpPr/>
          <p:nvPr/>
        </p:nvGrpSpPr>
        <p:grpSpPr>
          <a:xfrm>
            <a:off x="4190128" y="4553833"/>
            <a:ext cx="802294" cy="802294"/>
            <a:chOff x="5026620" y="481852"/>
            <a:chExt cx="1067853" cy="1067853"/>
          </a:xfrm>
        </p:grpSpPr>
        <p:sp>
          <p:nvSpPr>
            <p:cNvPr id="75" name="Oval 74">
              <a:extLst>
                <a:ext uri="{FF2B5EF4-FFF2-40B4-BE49-F238E27FC236}">
                  <a16:creationId xmlns:a16="http://schemas.microsoft.com/office/drawing/2014/main" id="{81C0805B-1798-03BF-DBC6-708353314F3F}"/>
                </a:ext>
              </a:extLst>
            </p:cNvPr>
            <p:cNvSpPr/>
            <p:nvPr/>
          </p:nvSpPr>
          <p:spPr>
            <a:xfrm>
              <a:off x="5026620" y="481852"/>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grpSp>
          <p:nvGrpSpPr>
            <p:cNvPr id="76" name="bcgBugs_Electric Car 3">
              <a:extLst>
                <a:ext uri="{FF2B5EF4-FFF2-40B4-BE49-F238E27FC236}">
                  <a16:creationId xmlns:a16="http://schemas.microsoft.com/office/drawing/2014/main" id="{111839F4-3D27-FE17-F4E0-9AA0DFA17FED}"/>
                </a:ext>
              </a:extLst>
            </p:cNvPr>
            <p:cNvGrpSpPr>
              <a:grpSpLocks noChangeAspect="1"/>
            </p:cNvGrpSpPr>
            <p:nvPr/>
          </p:nvGrpSpPr>
          <p:grpSpPr>
            <a:xfrm>
              <a:off x="5123966" y="579197"/>
              <a:ext cx="873162" cy="873162"/>
              <a:chOff x="4898229" y="2231229"/>
              <a:chExt cx="2390776" cy="2390776"/>
            </a:xfrm>
          </p:grpSpPr>
          <p:sp>
            <p:nvSpPr>
              <p:cNvPr id="77" name="Freeform: Shape 42">
                <a:extLst>
                  <a:ext uri="{FF2B5EF4-FFF2-40B4-BE49-F238E27FC236}">
                    <a16:creationId xmlns:a16="http://schemas.microsoft.com/office/drawing/2014/main" id="{4AC53609-F9F3-74E4-F5AA-47BDD8789690}"/>
                  </a:ext>
                </a:extLst>
              </p:cNvPr>
              <p:cNvSpPr/>
              <p:nvPr/>
            </p:nvSpPr>
            <p:spPr>
              <a:xfrm>
                <a:off x="5045437" y="3052286"/>
                <a:ext cx="2095500" cy="752474"/>
              </a:xfrm>
              <a:custGeom>
                <a:avLst/>
                <a:gdLst>
                  <a:gd name="connsiteX0" fmla="*/ 1553483 w 2095500"/>
                  <a:gd name="connsiteY0" fmla="*/ 554736 h 752475"/>
                  <a:gd name="connsiteX1" fmla="*/ 1579201 w 2095500"/>
                  <a:gd name="connsiteY1" fmla="*/ 392811 h 752475"/>
                  <a:gd name="connsiteX2" fmla="*/ 1577867 w 2095500"/>
                  <a:gd name="connsiteY2" fmla="*/ 383858 h 752475"/>
                  <a:gd name="connsiteX3" fmla="*/ 1175722 w 2095500"/>
                  <a:gd name="connsiteY3" fmla="*/ 220504 h 752475"/>
                  <a:gd name="connsiteX4" fmla="*/ 872446 w 2095500"/>
                  <a:gd name="connsiteY4" fmla="*/ 45625 h 752475"/>
                  <a:gd name="connsiteX5" fmla="*/ 429057 w 2095500"/>
                  <a:gd name="connsiteY5" fmla="*/ 45625 h 752475"/>
                  <a:gd name="connsiteX6" fmla="*/ 426485 w 2095500"/>
                  <a:gd name="connsiteY6" fmla="*/ 45625 h 752475"/>
                  <a:gd name="connsiteX7" fmla="*/ 112922 w 2095500"/>
                  <a:gd name="connsiteY7" fmla="*/ 85439 h 752475"/>
                  <a:gd name="connsiteX8" fmla="*/ 89777 w 2095500"/>
                  <a:gd name="connsiteY8" fmla="*/ 102108 h 752475"/>
                  <a:gd name="connsiteX9" fmla="*/ 94920 w 2095500"/>
                  <a:gd name="connsiteY9" fmla="*/ 130683 h 752475"/>
                  <a:gd name="connsiteX10" fmla="*/ 96254 w 2095500"/>
                  <a:gd name="connsiteY10" fmla="*/ 133255 h 752475"/>
                  <a:gd name="connsiteX11" fmla="*/ 16529 w 2095500"/>
                  <a:gd name="connsiteY11" fmla="*/ 204026 h 752475"/>
                  <a:gd name="connsiteX12" fmla="*/ 7576 w 2095500"/>
                  <a:gd name="connsiteY12" fmla="*/ 225838 h 752475"/>
                  <a:gd name="connsiteX13" fmla="*/ 7576 w 2095500"/>
                  <a:gd name="connsiteY13" fmla="*/ 268319 h 752475"/>
                  <a:gd name="connsiteX14" fmla="*/ 15291 w 2095500"/>
                  <a:gd name="connsiteY14" fmla="*/ 287369 h 752475"/>
                  <a:gd name="connsiteX15" fmla="*/ 21673 w 2095500"/>
                  <a:gd name="connsiteY15" fmla="*/ 293846 h 752475"/>
                  <a:gd name="connsiteX16" fmla="*/ 21673 w 2095500"/>
                  <a:gd name="connsiteY16" fmla="*/ 306705 h 752475"/>
                  <a:gd name="connsiteX17" fmla="*/ 12338 w 2095500"/>
                  <a:gd name="connsiteY17" fmla="*/ 318135 h 752475"/>
                  <a:gd name="connsiteX18" fmla="*/ 7195 w 2095500"/>
                  <a:gd name="connsiteY18" fmla="*/ 336137 h 752475"/>
                  <a:gd name="connsiteX19" fmla="*/ 7195 w 2095500"/>
                  <a:gd name="connsiteY19" fmla="*/ 437769 h 752475"/>
                  <a:gd name="connsiteX20" fmla="*/ 8528 w 2095500"/>
                  <a:gd name="connsiteY20" fmla="*/ 446723 h 752475"/>
                  <a:gd name="connsiteX21" fmla="*/ 117685 w 2095500"/>
                  <a:gd name="connsiteY21" fmla="*/ 565023 h 752475"/>
                  <a:gd name="connsiteX22" fmla="*/ 174835 w 2095500"/>
                  <a:gd name="connsiteY22" fmla="*/ 566261 h 752475"/>
                  <a:gd name="connsiteX23" fmla="*/ 347681 w 2095500"/>
                  <a:gd name="connsiteY23" fmla="*/ 710658 h 752475"/>
                  <a:gd name="connsiteX24" fmla="*/ 491351 w 2095500"/>
                  <a:gd name="connsiteY24" fmla="*/ 572834 h 752475"/>
                  <a:gd name="connsiteX25" fmla="*/ 548501 w 2095500"/>
                  <a:gd name="connsiteY25" fmla="*/ 573977 h 752475"/>
                  <a:gd name="connsiteX26" fmla="*/ 1056469 w 2095500"/>
                  <a:gd name="connsiteY26" fmla="*/ 573977 h 752475"/>
                  <a:gd name="connsiteX27" fmla="*/ 1236793 w 2095500"/>
                  <a:gd name="connsiteY27" fmla="*/ 710263 h 752475"/>
                  <a:gd name="connsiteX28" fmla="*/ 1373080 w 2095500"/>
                  <a:gd name="connsiteY28" fmla="*/ 573977 h 752475"/>
                  <a:gd name="connsiteX29" fmla="*/ 1527766 w 2095500"/>
                  <a:gd name="connsiteY29" fmla="*/ 573977 h 752475"/>
                  <a:gd name="connsiteX30" fmla="*/ 1553483 w 2095500"/>
                  <a:gd name="connsiteY30" fmla="*/ 554736 h 752475"/>
                  <a:gd name="connsiteX31" fmla="*/ 230556 w 2095500"/>
                  <a:gd name="connsiteY31" fmla="*/ 186976 h 752475"/>
                  <a:gd name="connsiteX32" fmla="*/ 248558 w 2095500"/>
                  <a:gd name="connsiteY32" fmla="*/ 160020 h 752475"/>
                  <a:gd name="connsiteX33" fmla="*/ 383813 w 2095500"/>
                  <a:gd name="connsiteY33" fmla="*/ 142018 h 752475"/>
                  <a:gd name="connsiteX34" fmla="*/ 360668 w 2095500"/>
                  <a:gd name="connsiteY34" fmla="*/ 221647 h 752475"/>
                  <a:gd name="connsiteX35" fmla="*/ 225794 w 2095500"/>
                  <a:gd name="connsiteY35" fmla="*/ 216503 h 752475"/>
                  <a:gd name="connsiteX36" fmla="*/ 230556 w 2095500"/>
                  <a:gd name="connsiteY36" fmla="*/ 186976 h 752475"/>
                  <a:gd name="connsiteX37" fmla="*/ 114923 w 2095500"/>
                  <a:gd name="connsiteY37" fmla="*/ 328327 h 752475"/>
                  <a:gd name="connsiteX38" fmla="*/ 114923 w 2095500"/>
                  <a:gd name="connsiteY38" fmla="*/ 271939 h 752475"/>
                  <a:gd name="connsiteX39" fmla="*/ 204839 w 2095500"/>
                  <a:gd name="connsiteY39" fmla="*/ 271939 h 752475"/>
                  <a:gd name="connsiteX40" fmla="*/ 208744 w 2095500"/>
                  <a:gd name="connsiteY40" fmla="*/ 293846 h 752475"/>
                  <a:gd name="connsiteX41" fmla="*/ 180169 w 2095500"/>
                  <a:gd name="connsiteY41" fmla="*/ 328517 h 752475"/>
                  <a:gd name="connsiteX42" fmla="*/ 333998 w 2095500"/>
                  <a:gd name="connsiteY42" fmla="*/ 655034 h 752475"/>
                  <a:gd name="connsiteX43" fmla="*/ 232461 w 2095500"/>
                  <a:gd name="connsiteY43" fmla="*/ 567214 h 752475"/>
                  <a:gd name="connsiteX44" fmla="*/ 231223 w 2095500"/>
                  <a:gd name="connsiteY44" fmla="*/ 551974 h 752475"/>
                  <a:gd name="connsiteX45" fmla="*/ 333998 w 2095500"/>
                  <a:gd name="connsiteY45" fmla="*/ 449199 h 752475"/>
                  <a:gd name="connsiteX46" fmla="*/ 436772 w 2095500"/>
                  <a:gd name="connsiteY46" fmla="*/ 551974 h 752475"/>
                  <a:gd name="connsiteX47" fmla="*/ 434867 w 2095500"/>
                  <a:gd name="connsiteY47" fmla="*/ 571024 h 752475"/>
                  <a:gd name="connsiteX48" fmla="*/ 333998 w 2095500"/>
                  <a:gd name="connsiteY48" fmla="*/ 655034 h 752475"/>
                  <a:gd name="connsiteX49" fmla="*/ 401435 w 2095500"/>
                  <a:gd name="connsiteY49" fmla="*/ 237077 h 752475"/>
                  <a:gd name="connsiteX50" fmla="*/ 432296 w 2095500"/>
                  <a:gd name="connsiteY50" fmla="*/ 134303 h 752475"/>
                  <a:gd name="connsiteX51" fmla="*/ 436106 w 2095500"/>
                  <a:gd name="connsiteY51" fmla="*/ 134303 h 752475"/>
                  <a:gd name="connsiteX52" fmla="*/ 683756 w 2095500"/>
                  <a:gd name="connsiteY52" fmla="*/ 126587 h 752475"/>
                  <a:gd name="connsiteX53" fmla="*/ 695662 w 2095500"/>
                  <a:gd name="connsiteY53" fmla="*/ 252889 h 752475"/>
                  <a:gd name="connsiteX54" fmla="*/ 777863 w 2095500"/>
                  <a:gd name="connsiteY54" fmla="*/ 251174 h 752475"/>
                  <a:gd name="connsiteX55" fmla="*/ 740620 w 2095500"/>
                  <a:gd name="connsiteY55" fmla="*/ 127921 h 752475"/>
                  <a:gd name="connsiteX56" fmla="*/ 860159 w 2095500"/>
                  <a:gd name="connsiteY56" fmla="*/ 134302 h 752475"/>
                  <a:gd name="connsiteX57" fmla="*/ 1065708 w 2095500"/>
                  <a:gd name="connsiteY57" fmla="*/ 264033 h 752475"/>
                  <a:gd name="connsiteX58" fmla="*/ 1215536 w 2095500"/>
                  <a:gd name="connsiteY58" fmla="*/ 655034 h 752475"/>
                  <a:gd name="connsiteX59" fmla="*/ 1112185 w 2095500"/>
                  <a:gd name="connsiteY59" fmla="*/ 552265 h 752475"/>
                  <a:gd name="connsiteX60" fmla="*/ 1214955 w 2095500"/>
                  <a:gd name="connsiteY60" fmla="*/ 448914 h 752475"/>
                  <a:gd name="connsiteX61" fmla="*/ 1318306 w 2095500"/>
                  <a:gd name="connsiteY61" fmla="*/ 551683 h 752475"/>
                  <a:gd name="connsiteX62" fmla="*/ 1315930 w 2095500"/>
                  <a:gd name="connsiteY62" fmla="*/ 573976 h 752475"/>
                  <a:gd name="connsiteX63" fmla="*/ 1215537 w 2095500"/>
                  <a:gd name="connsiteY63" fmla="*/ 655034 h 752475"/>
                  <a:gd name="connsiteX64" fmla="*/ 1460138 w 2095500"/>
                  <a:gd name="connsiteY64" fmla="*/ 391287 h 752475"/>
                  <a:gd name="connsiteX65" fmla="*/ 1349648 w 2095500"/>
                  <a:gd name="connsiteY65" fmla="*/ 348806 h 752475"/>
                  <a:gd name="connsiteX66" fmla="*/ 1339361 w 2095500"/>
                  <a:gd name="connsiteY66" fmla="*/ 326993 h 752475"/>
                  <a:gd name="connsiteX67" fmla="*/ 1398416 w 2095500"/>
                  <a:gd name="connsiteY67" fmla="*/ 326993 h 752475"/>
                  <a:gd name="connsiteX68" fmla="*/ 1470425 w 2095500"/>
                  <a:gd name="connsiteY68" fmla="*/ 351377 h 752475"/>
                  <a:gd name="connsiteX69" fmla="*/ 1483284 w 2095500"/>
                  <a:gd name="connsiteY69" fmla="*/ 391287 h 752475"/>
                  <a:gd name="connsiteX70" fmla="*/ 2093551 w 2095500"/>
                  <a:gd name="connsiteY70" fmla="*/ 33814 h 752475"/>
                  <a:gd name="connsiteX71" fmla="*/ 2093551 w 2095500"/>
                  <a:gd name="connsiteY71" fmla="*/ 673894 h 752475"/>
                  <a:gd name="connsiteX72" fmla="*/ 2057546 w 2095500"/>
                  <a:gd name="connsiteY72" fmla="*/ 709898 h 752475"/>
                  <a:gd name="connsiteX73" fmla="*/ 1938103 w 2095500"/>
                  <a:gd name="connsiteY73" fmla="*/ 709898 h 752475"/>
                  <a:gd name="connsiteX74" fmla="*/ 1902098 w 2095500"/>
                  <a:gd name="connsiteY74" fmla="*/ 673894 h 752475"/>
                  <a:gd name="connsiteX75" fmla="*/ 1902098 w 2095500"/>
                  <a:gd name="connsiteY75" fmla="*/ 116300 h 752475"/>
                  <a:gd name="connsiteX76" fmla="*/ 2082026 w 2095500"/>
                  <a:gd name="connsiteY76" fmla="*/ 7144 h 752475"/>
                  <a:gd name="connsiteX77" fmla="*/ 2093551 w 2095500"/>
                  <a:gd name="connsiteY77" fmla="*/ 33814 h 752475"/>
                  <a:gd name="connsiteX78" fmla="*/ 1846472 w 2095500"/>
                  <a:gd name="connsiteY78" fmla="*/ 311468 h 752475"/>
                  <a:gd name="connsiteX79" fmla="*/ 1846472 w 2095500"/>
                  <a:gd name="connsiteY79" fmla="*/ 379571 h 752475"/>
                  <a:gd name="connsiteX80" fmla="*/ 1845139 w 2095500"/>
                  <a:gd name="connsiteY80" fmla="*/ 383477 h 752475"/>
                  <a:gd name="connsiteX81" fmla="*/ 1832375 w 2095500"/>
                  <a:gd name="connsiteY81" fmla="*/ 406622 h 752475"/>
                  <a:gd name="connsiteX82" fmla="*/ 1819517 w 2095500"/>
                  <a:gd name="connsiteY82" fmla="*/ 458057 h 752475"/>
                  <a:gd name="connsiteX83" fmla="*/ 1820755 w 2095500"/>
                  <a:gd name="connsiteY83" fmla="*/ 527399 h 752475"/>
                  <a:gd name="connsiteX84" fmla="*/ 1833614 w 2095500"/>
                  <a:gd name="connsiteY84" fmla="*/ 575024 h 752475"/>
                  <a:gd name="connsiteX85" fmla="*/ 1841329 w 2095500"/>
                  <a:gd name="connsiteY85" fmla="*/ 630269 h 752475"/>
                  <a:gd name="connsiteX86" fmla="*/ 1805324 w 2095500"/>
                  <a:gd name="connsiteY86" fmla="*/ 706469 h 752475"/>
                  <a:gd name="connsiteX87" fmla="*/ 1715408 w 2095500"/>
                  <a:gd name="connsiteY87" fmla="*/ 743712 h 752475"/>
                  <a:gd name="connsiteX88" fmla="*/ 1683309 w 2095500"/>
                  <a:gd name="connsiteY88" fmla="*/ 746284 h 752475"/>
                  <a:gd name="connsiteX89" fmla="*/ 1574439 w 2095500"/>
                  <a:gd name="connsiteY89" fmla="*/ 720566 h 752475"/>
                  <a:gd name="connsiteX90" fmla="*/ 1523003 w 2095500"/>
                  <a:gd name="connsiteY90" fmla="*/ 672941 h 752475"/>
                  <a:gd name="connsiteX91" fmla="*/ 1525575 w 2095500"/>
                  <a:gd name="connsiteY91" fmla="*/ 630460 h 752475"/>
                  <a:gd name="connsiteX92" fmla="*/ 1528147 w 2095500"/>
                  <a:gd name="connsiteY92" fmla="*/ 630460 h 752475"/>
                  <a:gd name="connsiteX93" fmla="*/ 1594822 w 2095500"/>
                  <a:gd name="connsiteY93" fmla="*/ 595789 h 752475"/>
                  <a:gd name="connsiteX94" fmla="*/ 1602908 w 2095500"/>
                  <a:gd name="connsiteY94" fmla="*/ 594331 h 752475"/>
                  <a:gd name="connsiteX95" fmla="*/ 1605109 w 2095500"/>
                  <a:gd name="connsiteY95" fmla="*/ 600932 h 752475"/>
                  <a:gd name="connsiteX96" fmla="*/ 1594822 w 2095500"/>
                  <a:gd name="connsiteY96" fmla="*/ 618934 h 752475"/>
                  <a:gd name="connsiteX97" fmla="*/ 1587107 w 2095500"/>
                  <a:gd name="connsiteY97" fmla="*/ 630460 h 752475"/>
                  <a:gd name="connsiteX98" fmla="*/ 1580630 w 2095500"/>
                  <a:gd name="connsiteY98" fmla="*/ 648462 h 752475"/>
                  <a:gd name="connsiteX99" fmla="*/ 1583202 w 2095500"/>
                  <a:gd name="connsiteY99" fmla="*/ 661321 h 752475"/>
                  <a:gd name="connsiteX100" fmla="*/ 1597394 w 2095500"/>
                  <a:gd name="connsiteY100" fmla="*/ 667798 h 752475"/>
                  <a:gd name="connsiteX101" fmla="*/ 1707884 w 2095500"/>
                  <a:gd name="connsiteY101" fmla="*/ 688372 h 752475"/>
                  <a:gd name="connsiteX102" fmla="*/ 1765700 w 2095500"/>
                  <a:gd name="connsiteY102" fmla="*/ 666464 h 752475"/>
                  <a:gd name="connsiteX103" fmla="*/ 1786274 w 2095500"/>
                  <a:gd name="connsiteY103" fmla="*/ 624078 h 752475"/>
                  <a:gd name="connsiteX104" fmla="*/ 1781131 w 2095500"/>
                  <a:gd name="connsiteY104" fmla="*/ 594455 h 752475"/>
                  <a:gd name="connsiteX105" fmla="*/ 1765701 w 2095500"/>
                  <a:gd name="connsiteY105" fmla="*/ 536638 h 752475"/>
                  <a:gd name="connsiteX106" fmla="*/ 1764462 w 2095500"/>
                  <a:gd name="connsiteY106" fmla="*/ 450913 h 752475"/>
                  <a:gd name="connsiteX107" fmla="*/ 1779798 w 2095500"/>
                  <a:gd name="connsiteY107" fmla="*/ 385286 h 752475"/>
                  <a:gd name="connsiteX108" fmla="*/ 1837710 w 2095500"/>
                  <a:gd name="connsiteY108" fmla="*/ 308134 h 752475"/>
                  <a:gd name="connsiteX109" fmla="*/ 1845538 w 2095500"/>
                  <a:gd name="connsiteY109" fmla="*/ 309504 h 752475"/>
                  <a:gd name="connsiteX110" fmla="*/ 1846473 w 2095500"/>
                  <a:gd name="connsiteY110" fmla="*/ 311753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95500" h="752475">
                    <a:moveTo>
                      <a:pt x="1553483" y="554736"/>
                    </a:moveTo>
                    <a:cubicBezTo>
                      <a:pt x="1559865" y="535686"/>
                      <a:pt x="1589488" y="441579"/>
                      <a:pt x="1579201" y="392811"/>
                    </a:cubicBezTo>
                    <a:cubicBezTo>
                      <a:pt x="1579201" y="390239"/>
                      <a:pt x="1577867" y="387668"/>
                      <a:pt x="1577867" y="383858"/>
                    </a:cubicBezTo>
                    <a:cubicBezTo>
                      <a:pt x="1566342" y="309277"/>
                      <a:pt x="1523956" y="230791"/>
                      <a:pt x="1175722" y="220504"/>
                    </a:cubicBezTo>
                    <a:cubicBezTo>
                      <a:pt x="1139717" y="187071"/>
                      <a:pt x="995795" y="59817"/>
                      <a:pt x="872446" y="45625"/>
                    </a:cubicBezTo>
                    <a:cubicBezTo>
                      <a:pt x="742620" y="31528"/>
                      <a:pt x="441916" y="45625"/>
                      <a:pt x="429057" y="45625"/>
                    </a:cubicBezTo>
                    <a:lnTo>
                      <a:pt x="426485" y="45625"/>
                    </a:lnTo>
                    <a:lnTo>
                      <a:pt x="112922" y="85439"/>
                    </a:lnTo>
                    <a:cubicBezTo>
                      <a:pt x="102954" y="86898"/>
                      <a:pt x="94320" y="93117"/>
                      <a:pt x="89777" y="102108"/>
                    </a:cubicBezTo>
                    <a:cubicBezTo>
                      <a:pt x="86164" y="111859"/>
                      <a:pt x="88134" y="122803"/>
                      <a:pt x="94920" y="130683"/>
                    </a:cubicBezTo>
                    <a:lnTo>
                      <a:pt x="96254" y="133255"/>
                    </a:lnTo>
                    <a:lnTo>
                      <a:pt x="16529" y="204026"/>
                    </a:lnTo>
                    <a:cubicBezTo>
                      <a:pt x="10703" y="209776"/>
                      <a:pt x="7470" y="217652"/>
                      <a:pt x="7576" y="225838"/>
                    </a:cubicBezTo>
                    <a:lnTo>
                      <a:pt x="7576" y="268319"/>
                    </a:lnTo>
                    <a:cubicBezTo>
                      <a:pt x="7696" y="275406"/>
                      <a:pt x="10446" y="282196"/>
                      <a:pt x="15291" y="287369"/>
                    </a:cubicBezTo>
                    <a:lnTo>
                      <a:pt x="21673" y="293846"/>
                    </a:lnTo>
                    <a:lnTo>
                      <a:pt x="21673" y="306705"/>
                    </a:lnTo>
                    <a:lnTo>
                      <a:pt x="12338" y="318135"/>
                    </a:lnTo>
                    <a:cubicBezTo>
                      <a:pt x="8741" y="323431"/>
                      <a:pt x="6939" y="329741"/>
                      <a:pt x="7195" y="336137"/>
                    </a:cubicBezTo>
                    <a:lnTo>
                      <a:pt x="7195" y="437769"/>
                    </a:lnTo>
                    <a:cubicBezTo>
                      <a:pt x="6982" y="440815"/>
                      <a:pt x="7437" y="443871"/>
                      <a:pt x="8528" y="446723"/>
                    </a:cubicBezTo>
                    <a:cubicBezTo>
                      <a:pt x="9767" y="450628"/>
                      <a:pt x="38056" y="537972"/>
                      <a:pt x="117685" y="565023"/>
                    </a:cubicBezTo>
                    <a:lnTo>
                      <a:pt x="174835" y="566261"/>
                    </a:lnTo>
                    <a:cubicBezTo>
                      <a:pt x="182691" y="653865"/>
                      <a:pt x="260077" y="718514"/>
                      <a:pt x="347681" y="710658"/>
                    </a:cubicBezTo>
                    <a:cubicBezTo>
                      <a:pt x="421924" y="704000"/>
                      <a:pt x="481617" y="646736"/>
                      <a:pt x="491351" y="572834"/>
                    </a:cubicBezTo>
                    <a:lnTo>
                      <a:pt x="548501" y="573977"/>
                    </a:lnTo>
                    <a:lnTo>
                      <a:pt x="1056469" y="573977"/>
                    </a:lnTo>
                    <a:cubicBezTo>
                      <a:pt x="1068630" y="661406"/>
                      <a:pt x="1149364" y="722424"/>
                      <a:pt x="1236793" y="710263"/>
                    </a:cubicBezTo>
                    <a:cubicBezTo>
                      <a:pt x="1307585" y="700417"/>
                      <a:pt x="1363233" y="644768"/>
                      <a:pt x="1373080" y="573977"/>
                    </a:cubicBezTo>
                    <a:lnTo>
                      <a:pt x="1527766" y="573977"/>
                    </a:lnTo>
                    <a:cubicBezTo>
                      <a:pt x="1539600" y="573806"/>
                      <a:pt x="1549980" y="566040"/>
                      <a:pt x="1553483" y="554736"/>
                    </a:cubicBezTo>
                    <a:close/>
                    <a:moveTo>
                      <a:pt x="230556" y="186976"/>
                    </a:moveTo>
                    <a:cubicBezTo>
                      <a:pt x="235234" y="177175"/>
                      <a:pt x="241297" y="168096"/>
                      <a:pt x="248558" y="160020"/>
                    </a:cubicBezTo>
                    <a:lnTo>
                      <a:pt x="383813" y="142018"/>
                    </a:lnTo>
                    <a:lnTo>
                      <a:pt x="360668" y="221647"/>
                    </a:lnTo>
                    <a:lnTo>
                      <a:pt x="225794" y="216503"/>
                    </a:lnTo>
                    <a:cubicBezTo>
                      <a:pt x="225034" y="206423"/>
                      <a:pt x="226666" y="196306"/>
                      <a:pt x="230556" y="186976"/>
                    </a:cubicBezTo>
                    <a:close/>
                    <a:moveTo>
                      <a:pt x="114923" y="328327"/>
                    </a:moveTo>
                    <a:lnTo>
                      <a:pt x="114923" y="271939"/>
                    </a:lnTo>
                    <a:lnTo>
                      <a:pt x="204839" y="271939"/>
                    </a:lnTo>
                    <a:cubicBezTo>
                      <a:pt x="204839" y="271939"/>
                      <a:pt x="227984" y="279654"/>
                      <a:pt x="208744" y="293846"/>
                    </a:cubicBezTo>
                    <a:cubicBezTo>
                      <a:pt x="196590" y="302959"/>
                      <a:pt x="186793" y="314847"/>
                      <a:pt x="180169" y="328517"/>
                    </a:cubicBezTo>
                    <a:close/>
                    <a:moveTo>
                      <a:pt x="333998" y="655034"/>
                    </a:moveTo>
                    <a:cubicBezTo>
                      <a:pt x="283113" y="654841"/>
                      <a:pt x="239985" y="617540"/>
                      <a:pt x="232461" y="567214"/>
                    </a:cubicBezTo>
                    <a:cubicBezTo>
                      <a:pt x="231663" y="562173"/>
                      <a:pt x="231249" y="557078"/>
                      <a:pt x="231223" y="551974"/>
                    </a:cubicBezTo>
                    <a:cubicBezTo>
                      <a:pt x="231223" y="495213"/>
                      <a:pt x="277237" y="449199"/>
                      <a:pt x="333998" y="449199"/>
                    </a:cubicBezTo>
                    <a:cubicBezTo>
                      <a:pt x="390759" y="449199"/>
                      <a:pt x="436772" y="495213"/>
                      <a:pt x="436772" y="551974"/>
                    </a:cubicBezTo>
                    <a:cubicBezTo>
                      <a:pt x="436746" y="558370"/>
                      <a:pt x="436108" y="564749"/>
                      <a:pt x="434867" y="571024"/>
                    </a:cubicBezTo>
                    <a:cubicBezTo>
                      <a:pt x="425699" y="619568"/>
                      <a:pt x="383400" y="654798"/>
                      <a:pt x="333998" y="655034"/>
                    </a:cubicBezTo>
                    <a:close/>
                    <a:moveTo>
                      <a:pt x="401435" y="237077"/>
                    </a:moveTo>
                    <a:lnTo>
                      <a:pt x="432296" y="134303"/>
                    </a:lnTo>
                    <a:lnTo>
                      <a:pt x="436106" y="134303"/>
                    </a:lnTo>
                    <a:cubicBezTo>
                      <a:pt x="457918" y="133064"/>
                      <a:pt x="571075" y="127921"/>
                      <a:pt x="683756" y="126587"/>
                    </a:cubicBezTo>
                    <a:lnTo>
                      <a:pt x="695662" y="252889"/>
                    </a:lnTo>
                    <a:close/>
                    <a:moveTo>
                      <a:pt x="777863" y="251174"/>
                    </a:moveTo>
                    <a:lnTo>
                      <a:pt x="740620" y="127921"/>
                    </a:lnTo>
                    <a:cubicBezTo>
                      <a:pt x="780562" y="127477"/>
                      <a:pt x="820491" y="129609"/>
                      <a:pt x="860159" y="134302"/>
                    </a:cubicBezTo>
                    <a:cubicBezTo>
                      <a:pt x="917975" y="140684"/>
                      <a:pt x="1005320" y="207550"/>
                      <a:pt x="1065708" y="264033"/>
                    </a:cubicBezTo>
                    <a:close/>
                    <a:moveTo>
                      <a:pt x="1215536" y="655034"/>
                    </a:moveTo>
                    <a:cubicBezTo>
                      <a:pt x="1158618" y="655195"/>
                      <a:pt x="1112346" y="609184"/>
                      <a:pt x="1112185" y="552265"/>
                    </a:cubicBezTo>
                    <a:cubicBezTo>
                      <a:pt x="1112025" y="495347"/>
                      <a:pt x="1158036" y="449075"/>
                      <a:pt x="1214955" y="448914"/>
                    </a:cubicBezTo>
                    <a:cubicBezTo>
                      <a:pt x="1271873" y="448753"/>
                      <a:pt x="1318145" y="494765"/>
                      <a:pt x="1318306" y="551683"/>
                    </a:cubicBezTo>
                    <a:cubicBezTo>
                      <a:pt x="1318327" y="559179"/>
                      <a:pt x="1317530" y="566654"/>
                      <a:pt x="1315930" y="573976"/>
                    </a:cubicBezTo>
                    <a:cubicBezTo>
                      <a:pt x="1305388" y="621055"/>
                      <a:pt x="1263779" y="654650"/>
                      <a:pt x="1215537" y="655034"/>
                    </a:cubicBezTo>
                    <a:close/>
                    <a:moveTo>
                      <a:pt x="1460138" y="391287"/>
                    </a:moveTo>
                    <a:lnTo>
                      <a:pt x="1349648" y="348806"/>
                    </a:lnTo>
                    <a:lnTo>
                      <a:pt x="1339361" y="326993"/>
                    </a:lnTo>
                    <a:cubicBezTo>
                      <a:pt x="1358895" y="323545"/>
                      <a:pt x="1378882" y="323545"/>
                      <a:pt x="1398416" y="326993"/>
                    </a:cubicBezTo>
                    <a:cubicBezTo>
                      <a:pt x="1436516" y="332137"/>
                      <a:pt x="1460138" y="332137"/>
                      <a:pt x="1470425" y="351377"/>
                    </a:cubicBezTo>
                    <a:cubicBezTo>
                      <a:pt x="1477017" y="363824"/>
                      <a:pt x="1481369" y="377333"/>
                      <a:pt x="1483284" y="391287"/>
                    </a:cubicBezTo>
                    <a:close/>
                    <a:moveTo>
                      <a:pt x="2093551" y="33814"/>
                    </a:moveTo>
                    <a:lnTo>
                      <a:pt x="2093551" y="673894"/>
                    </a:lnTo>
                    <a:cubicBezTo>
                      <a:pt x="2093551" y="693778"/>
                      <a:pt x="2077431" y="709898"/>
                      <a:pt x="2057546" y="709898"/>
                    </a:cubicBezTo>
                    <a:lnTo>
                      <a:pt x="1938103" y="709898"/>
                    </a:lnTo>
                    <a:cubicBezTo>
                      <a:pt x="1918218" y="709898"/>
                      <a:pt x="1902098" y="693778"/>
                      <a:pt x="1902098" y="673894"/>
                    </a:cubicBezTo>
                    <a:lnTo>
                      <a:pt x="1902098" y="116300"/>
                    </a:lnTo>
                    <a:lnTo>
                      <a:pt x="2082026" y="7144"/>
                    </a:lnTo>
                    <a:cubicBezTo>
                      <a:pt x="2089534" y="13956"/>
                      <a:pt x="2093735" y="23678"/>
                      <a:pt x="2093551" y="33814"/>
                    </a:cubicBezTo>
                    <a:close/>
                    <a:moveTo>
                      <a:pt x="1846472" y="311468"/>
                    </a:moveTo>
                    <a:lnTo>
                      <a:pt x="1846472" y="379571"/>
                    </a:lnTo>
                    <a:cubicBezTo>
                      <a:pt x="1846472" y="380905"/>
                      <a:pt x="1845139" y="382143"/>
                      <a:pt x="1845139" y="383477"/>
                    </a:cubicBezTo>
                    <a:cubicBezTo>
                      <a:pt x="1839863" y="390583"/>
                      <a:pt x="1835570" y="398368"/>
                      <a:pt x="1832375" y="406622"/>
                    </a:cubicBezTo>
                    <a:cubicBezTo>
                      <a:pt x="1825713" y="423084"/>
                      <a:pt x="1821385" y="440397"/>
                      <a:pt x="1819517" y="458057"/>
                    </a:cubicBezTo>
                    <a:cubicBezTo>
                      <a:pt x="1817425" y="481148"/>
                      <a:pt x="1817840" y="504398"/>
                      <a:pt x="1820755" y="527399"/>
                    </a:cubicBezTo>
                    <a:cubicBezTo>
                      <a:pt x="1822940" y="543768"/>
                      <a:pt x="1827263" y="559780"/>
                      <a:pt x="1833614" y="575024"/>
                    </a:cubicBezTo>
                    <a:cubicBezTo>
                      <a:pt x="1841303" y="592355"/>
                      <a:pt x="1843975" y="611495"/>
                      <a:pt x="1841329" y="630269"/>
                    </a:cubicBezTo>
                    <a:cubicBezTo>
                      <a:pt x="1838841" y="659162"/>
                      <a:pt x="1826065" y="686201"/>
                      <a:pt x="1805324" y="706469"/>
                    </a:cubicBezTo>
                    <a:cubicBezTo>
                      <a:pt x="1776749" y="735044"/>
                      <a:pt x="1744936" y="739902"/>
                      <a:pt x="1715408" y="743712"/>
                    </a:cubicBezTo>
                    <a:cubicBezTo>
                      <a:pt x="1704842" y="745793"/>
                      <a:pt x="1694072" y="746655"/>
                      <a:pt x="1683309" y="746284"/>
                    </a:cubicBezTo>
                    <a:cubicBezTo>
                      <a:pt x="1645609" y="745504"/>
                      <a:pt x="1608503" y="736739"/>
                      <a:pt x="1574439" y="720566"/>
                    </a:cubicBezTo>
                    <a:cubicBezTo>
                      <a:pt x="1552531" y="710279"/>
                      <a:pt x="1529480" y="697421"/>
                      <a:pt x="1523003" y="672941"/>
                    </a:cubicBezTo>
                    <a:cubicBezTo>
                      <a:pt x="1518624" y="658944"/>
                      <a:pt x="1519539" y="643826"/>
                      <a:pt x="1525575" y="630460"/>
                    </a:cubicBezTo>
                    <a:lnTo>
                      <a:pt x="1528147" y="630460"/>
                    </a:lnTo>
                    <a:cubicBezTo>
                      <a:pt x="1554564" y="629938"/>
                      <a:pt x="1579223" y="617115"/>
                      <a:pt x="1594822" y="595789"/>
                    </a:cubicBezTo>
                    <a:cubicBezTo>
                      <a:pt x="1596652" y="593153"/>
                      <a:pt x="1600273" y="592501"/>
                      <a:pt x="1602908" y="594331"/>
                    </a:cubicBezTo>
                    <a:cubicBezTo>
                      <a:pt x="1605024" y="595800"/>
                      <a:pt x="1605920" y="598487"/>
                      <a:pt x="1605109" y="600932"/>
                    </a:cubicBezTo>
                    <a:cubicBezTo>
                      <a:pt x="1602007" y="607114"/>
                      <a:pt x="1598573" y="613124"/>
                      <a:pt x="1594822" y="618934"/>
                    </a:cubicBezTo>
                    <a:cubicBezTo>
                      <a:pt x="1591380" y="622116"/>
                      <a:pt x="1588737" y="626065"/>
                      <a:pt x="1587107" y="630460"/>
                    </a:cubicBezTo>
                    <a:cubicBezTo>
                      <a:pt x="1583997" y="636075"/>
                      <a:pt x="1581811" y="642153"/>
                      <a:pt x="1580630" y="648462"/>
                    </a:cubicBezTo>
                    <a:cubicBezTo>
                      <a:pt x="1580446" y="652892"/>
                      <a:pt x="1581328" y="657302"/>
                      <a:pt x="1583202" y="661321"/>
                    </a:cubicBezTo>
                    <a:cubicBezTo>
                      <a:pt x="1585773" y="663893"/>
                      <a:pt x="1587107" y="663893"/>
                      <a:pt x="1597394" y="667798"/>
                    </a:cubicBezTo>
                    <a:cubicBezTo>
                      <a:pt x="1631336" y="685555"/>
                      <a:pt x="1669825" y="692722"/>
                      <a:pt x="1707884" y="688372"/>
                    </a:cubicBezTo>
                    <a:cubicBezTo>
                      <a:pt x="1732268" y="684467"/>
                      <a:pt x="1750270" y="681895"/>
                      <a:pt x="1765700" y="666464"/>
                    </a:cubicBezTo>
                    <a:cubicBezTo>
                      <a:pt x="1776987" y="654950"/>
                      <a:pt x="1784210" y="640069"/>
                      <a:pt x="1786274" y="624078"/>
                    </a:cubicBezTo>
                    <a:cubicBezTo>
                      <a:pt x="1786936" y="613936"/>
                      <a:pt x="1785173" y="603781"/>
                      <a:pt x="1781131" y="594455"/>
                    </a:cubicBezTo>
                    <a:cubicBezTo>
                      <a:pt x="1773424" y="575960"/>
                      <a:pt x="1768234" y="556514"/>
                      <a:pt x="1765701" y="536638"/>
                    </a:cubicBezTo>
                    <a:cubicBezTo>
                      <a:pt x="1760829" y="508302"/>
                      <a:pt x="1760411" y="479379"/>
                      <a:pt x="1764462" y="450913"/>
                    </a:cubicBezTo>
                    <a:cubicBezTo>
                      <a:pt x="1766382" y="428413"/>
                      <a:pt x="1771547" y="406308"/>
                      <a:pt x="1779798" y="385286"/>
                    </a:cubicBezTo>
                    <a:cubicBezTo>
                      <a:pt x="1792984" y="355500"/>
                      <a:pt x="1812791" y="329114"/>
                      <a:pt x="1837710" y="308134"/>
                    </a:cubicBezTo>
                    <a:cubicBezTo>
                      <a:pt x="1840250" y="306350"/>
                      <a:pt x="1843755" y="306964"/>
                      <a:pt x="1845538" y="309504"/>
                    </a:cubicBezTo>
                    <a:cubicBezTo>
                      <a:pt x="1846010" y="310176"/>
                      <a:pt x="1846329" y="310944"/>
                      <a:pt x="1846473" y="311753"/>
                    </a:cubicBezTo>
                    <a:close/>
                  </a:path>
                </a:pathLst>
              </a:custGeom>
              <a:solidFill>
                <a:srgbClr val="FFFFFF"/>
              </a:solidFill>
              <a:ln w="9525" cap="flat">
                <a:noFill/>
                <a:prstDash val="solid"/>
                <a:miter/>
              </a:ln>
            </p:spPr>
            <p:txBody>
              <a:bodyPr rtlCol="0" anchor="ctr"/>
              <a:lstStyle/>
              <a:p>
                <a:endParaRPr lang="en-US"/>
              </a:p>
            </p:txBody>
          </p:sp>
          <p:sp>
            <p:nvSpPr>
              <p:cNvPr id="78" name="Freeform: Shape 43">
                <a:extLst>
                  <a:ext uri="{FF2B5EF4-FFF2-40B4-BE49-F238E27FC236}">
                    <a16:creationId xmlns:a16="http://schemas.microsoft.com/office/drawing/2014/main" id="{33EA7EBA-D168-7CD7-3B9D-34FA5E3C9F36}"/>
                  </a:ext>
                </a:extLst>
              </p:cNvPr>
              <p:cNvSpPr/>
              <p:nvPr/>
            </p:nvSpPr>
            <p:spPr>
              <a:xfrm>
                <a:off x="4898229" y="2231229"/>
                <a:ext cx="2390776" cy="2390776"/>
              </a:xfrm>
              <a:custGeom>
                <a:avLst/>
                <a:gdLst>
                  <a:gd name="connsiteX0" fmla="*/ 7144 w 2390775"/>
                  <a:gd name="connsiteY0" fmla="*/ 7144 h 2390775"/>
                  <a:gd name="connsiteX1" fmla="*/ 2388394 w 2390775"/>
                  <a:gd name="connsiteY1" fmla="*/ 7144 h 2390775"/>
                  <a:gd name="connsiteX2" fmla="*/ 2388394 w 2390775"/>
                  <a:gd name="connsiteY2" fmla="*/ 2388394 h 2390775"/>
                  <a:gd name="connsiteX3" fmla="*/ 7144 w 2390775"/>
                  <a:gd name="connsiteY3" fmla="*/ 2388394 h 2390775"/>
                </a:gdLst>
                <a:ahLst/>
                <a:cxnLst>
                  <a:cxn ang="0">
                    <a:pos x="connsiteX0" y="connsiteY0"/>
                  </a:cxn>
                  <a:cxn ang="0">
                    <a:pos x="connsiteX1" y="connsiteY1"/>
                  </a:cxn>
                  <a:cxn ang="0">
                    <a:pos x="connsiteX2" y="connsiteY2"/>
                  </a:cxn>
                  <a:cxn ang="0">
                    <a:pos x="connsiteX3" y="connsiteY3"/>
                  </a:cxn>
                </a:cxnLst>
                <a:rect l="l" t="t" r="r" b="b"/>
                <a:pathLst>
                  <a:path w="2390775" h="2390775">
                    <a:moveTo>
                      <a:pt x="7144" y="7144"/>
                    </a:moveTo>
                    <a:lnTo>
                      <a:pt x="2388394" y="7144"/>
                    </a:lnTo>
                    <a:lnTo>
                      <a:pt x="2388394" y="2388394"/>
                    </a:lnTo>
                    <a:lnTo>
                      <a:pt x="7144" y="2388394"/>
                    </a:lnTo>
                    <a:close/>
                  </a:path>
                </a:pathLst>
              </a:custGeom>
              <a:noFill/>
              <a:ln w="9525" cap="flat">
                <a:noFill/>
                <a:prstDash val="solid"/>
                <a:miter/>
              </a:ln>
            </p:spPr>
            <p:txBody>
              <a:bodyPr rtlCol="0" anchor="ctr"/>
              <a:lstStyle/>
              <a:p>
                <a:endParaRPr lang="en-US"/>
              </a:p>
            </p:txBody>
          </p:sp>
        </p:grpSp>
      </p:grpSp>
      <p:grpSp>
        <p:nvGrpSpPr>
          <p:cNvPr id="41" name="Group 40">
            <a:extLst>
              <a:ext uri="{FF2B5EF4-FFF2-40B4-BE49-F238E27FC236}">
                <a16:creationId xmlns:a16="http://schemas.microsoft.com/office/drawing/2014/main" id="{B34570A9-2937-E9D6-4863-DE6E4C3CCAAC}"/>
              </a:ext>
            </a:extLst>
          </p:cNvPr>
          <p:cNvGrpSpPr/>
          <p:nvPr/>
        </p:nvGrpSpPr>
        <p:grpSpPr>
          <a:xfrm>
            <a:off x="4190128" y="156022"/>
            <a:ext cx="802294" cy="802294"/>
            <a:chOff x="5026620" y="5308295"/>
            <a:chExt cx="1067853" cy="1067853"/>
          </a:xfrm>
        </p:grpSpPr>
        <p:grpSp>
          <p:nvGrpSpPr>
            <p:cNvPr id="64" name="bcgBugs_Pay per use">
              <a:extLst>
                <a:ext uri="{FF2B5EF4-FFF2-40B4-BE49-F238E27FC236}">
                  <a16:creationId xmlns:a16="http://schemas.microsoft.com/office/drawing/2014/main" id="{BE3C3C9E-C820-0963-3851-3F46258604BC}"/>
                </a:ext>
              </a:extLst>
            </p:cNvPr>
            <p:cNvGrpSpPr>
              <a:grpSpLocks noChangeAspect="1"/>
            </p:cNvGrpSpPr>
            <p:nvPr/>
          </p:nvGrpSpPr>
          <p:grpSpPr bwMode="auto">
            <a:xfrm>
              <a:off x="5199876" y="5481411"/>
              <a:ext cx="719116" cy="721622"/>
              <a:chOff x="5120" y="1668"/>
              <a:chExt cx="287" cy="288"/>
            </a:xfrm>
          </p:grpSpPr>
          <p:sp>
            <p:nvSpPr>
              <p:cNvPr id="66" name="AutoShape 41">
                <a:extLst>
                  <a:ext uri="{FF2B5EF4-FFF2-40B4-BE49-F238E27FC236}">
                    <a16:creationId xmlns:a16="http://schemas.microsoft.com/office/drawing/2014/main" id="{B28325C1-D1BA-B1F1-33FB-9039C73AF7F1}"/>
                  </a:ext>
                </a:extLst>
              </p:cNvPr>
              <p:cNvSpPr>
                <a:spLocks noChangeAspect="1" noChangeArrowheads="1" noTextEdit="1"/>
              </p:cNvSpPr>
              <p:nvPr/>
            </p:nvSpPr>
            <p:spPr bwMode="auto">
              <a:xfrm>
                <a:off x="5120" y="1668"/>
                <a:ext cx="287"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3">
                <a:extLst>
                  <a:ext uri="{FF2B5EF4-FFF2-40B4-BE49-F238E27FC236}">
                    <a16:creationId xmlns:a16="http://schemas.microsoft.com/office/drawing/2014/main" id="{824269F4-0D00-DEBF-98FF-0940E9226DAA}"/>
                  </a:ext>
                </a:extLst>
              </p:cNvPr>
              <p:cNvSpPr>
                <a:spLocks noEditPoints="1"/>
              </p:cNvSpPr>
              <p:nvPr/>
            </p:nvSpPr>
            <p:spPr bwMode="auto">
              <a:xfrm>
                <a:off x="5144" y="1699"/>
                <a:ext cx="238" cy="226"/>
              </a:xfrm>
              <a:custGeom>
                <a:avLst/>
                <a:gdLst>
                  <a:gd name="T0" fmla="*/ 703 w 842"/>
                  <a:gd name="T1" fmla="*/ 85 h 801"/>
                  <a:gd name="T2" fmla="*/ 612 w 842"/>
                  <a:gd name="T3" fmla="*/ 134 h 801"/>
                  <a:gd name="T4" fmla="*/ 428 w 842"/>
                  <a:gd name="T5" fmla="*/ 65 h 801"/>
                  <a:gd name="T6" fmla="*/ 325 w 842"/>
                  <a:gd name="T7" fmla="*/ 53 h 801"/>
                  <a:gd name="T8" fmla="*/ 70 w 842"/>
                  <a:gd name="T9" fmla="*/ 157 h 801"/>
                  <a:gd name="T10" fmla="*/ 141 w 842"/>
                  <a:gd name="T11" fmla="*/ 228 h 801"/>
                  <a:gd name="T12" fmla="*/ 377 w 842"/>
                  <a:gd name="T13" fmla="*/ 105 h 801"/>
                  <a:gd name="T14" fmla="*/ 523 w 842"/>
                  <a:gd name="T15" fmla="*/ 170 h 801"/>
                  <a:gd name="T16" fmla="*/ 634 w 842"/>
                  <a:gd name="T17" fmla="*/ 172 h 801"/>
                  <a:gd name="T18" fmla="*/ 772 w 842"/>
                  <a:gd name="T19" fmla="*/ 141 h 801"/>
                  <a:gd name="T20" fmla="*/ 553 w 842"/>
                  <a:gd name="T21" fmla="*/ 264 h 801"/>
                  <a:gd name="T22" fmla="*/ 597 w 842"/>
                  <a:gd name="T23" fmla="*/ 778 h 801"/>
                  <a:gd name="T24" fmla="*/ 553 w 842"/>
                  <a:gd name="T25" fmla="*/ 264 h 801"/>
                  <a:gd name="T26" fmla="*/ 673 w 842"/>
                  <a:gd name="T27" fmla="*/ 800 h 801"/>
                  <a:gd name="T28" fmla="*/ 655 w 842"/>
                  <a:gd name="T29" fmla="*/ 211 h 801"/>
                  <a:gd name="T30" fmla="*/ 750 w 842"/>
                  <a:gd name="T31" fmla="*/ 778 h 801"/>
                  <a:gd name="T32" fmla="*/ 794 w 842"/>
                  <a:gd name="T33" fmla="*/ 183 h 801"/>
                  <a:gd name="T34" fmla="*/ 103 w 842"/>
                  <a:gd name="T35" fmla="*/ 337 h 801"/>
                  <a:gd name="T36" fmla="*/ 59 w 842"/>
                  <a:gd name="T37" fmla="*/ 429 h 801"/>
                  <a:gd name="T38" fmla="*/ 158 w 842"/>
                  <a:gd name="T39" fmla="*/ 261 h 801"/>
                  <a:gd name="T40" fmla="*/ 202 w 842"/>
                  <a:gd name="T41" fmla="*/ 235 h 801"/>
                  <a:gd name="T42" fmla="*/ 300 w 842"/>
                  <a:gd name="T43" fmla="*/ 177 h 801"/>
                  <a:gd name="T44" fmla="*/ 284 w 842"/>
                  <a:gd name="T45" fmla="*/ 298 h 801"/>
                  <a:gd name="T46" fmla="*/ 355 w 842"/>
                  <a:gd name="T47" fmla="*/ 147 h 801"/>
                  <a:gd name="T48" fmla="*/ 399 w 842"/>
                  <a:gd name="T49" fmla="*/ 147 h 801"/>
                  <a:gd name="T50" fmla="*/ 454 w 842"/>
                  <a:gd name="T51" fmla="*/ 181 h 801"/>
                  <a:gd name="T52" fmla="*/ 498 w 842"/>
                  <a:gd name="T53" fmla="*/ 206 h 801"/>
                  <a:gd name="T54" fmla="*/ 476 w 842"/>
                  <a:gd name="T55" fmla="*/ 800 h 801"/>
                  <a:gd name="T56" fmla="*/ 454 w 842"/>
                  <a:gd name="T57" fmla="*/ 752 h 801"/>
                  <a:gd name="T58" fmla="*/ 70 w 842"/>
                  <a:gd name="T59" fmla="*/ 578 h 801"/>
                  <a:gd name="T60" fmla="*/ 197 w 842"/>
                  <a:gd name="T61" fmla="*/ 558 h 801"/>
                  <a:gd name="T62" fmla="*/ 223 w 842"/>
                  <a:gd name="T63" fmla="*/ 563 h 801"/>
                  <a:gd name="T64" fmla="*/ 231 w 842"/>
                  <a:gd name="T65" fmla="*/ 569 h 801"/>
                  <a:gd name="T66" fmla="*/ 243 w 842"/>
                  <a:gd name="T67" fmla="*/ 578 h 801"/>
                  <a:gd name="T68" fmla="*/ 250 w 842"/>
                  <a:gd name="T69" fmla="*/ 588 h 801"/>
                  <a:gd name="T70" fmla="*/ 258 w 842"/>
                  <a:gd name="T71" fmla="*/ 615 h 801"/>
                  <a:gd name="T72" fmla="*/ 313 w 842"/>
                  <a:gd name="T73" fmla="*/ 612 h 801"/>
                  <a:gd name="T74" fmla="*/ 233 w 842"/>
                  <a:gd name="T75" fmla="*/ 543 h 801"/>
                  <a:gd name="T76" fmla="*/ 227 w 842"/>
                  <a:gd name="T77" fmla="*/ 457 h 801"/>
                  <a:gd name="T78" fmla="*/ 300 w 842"/>
                  <a:gd name="T79" fmla="*/ 406 h 801"/>
                  <a:gd name="T80" fmla="*/ 332 w 842"/>
                  <a:gd name="T81" fmla="*/ 483 h 801"/>
                  <a:gd name="T82" fmla="*/ 255 w 842"/>
                  <a:gd name="T83" fmla="*/ 495 h 801"/>
                  <a:gd name="T84" fmla="*/ 349 w 842"/>
                  <a:gd name="T85" fmla="*/ 581 h 801"/>
                  <a:gd name="T86" fmla="*/ 300 w 842"/>
                  <a:gd name="T87" fmla="*/ 671 h 801"/>
                  <a:gd name="T88" fmla="*/ 252 w 842"/>
                  <a:gd name="T89" fmla="*/ 752 h 801"/>
                  <a:gd name="T90" fmla="*/ 499 w 842"/>
                  <a:gd name="T91" fmla="*/ 557 h 801"/>
                  <a:gd name="T92" fmla="*/ 264 w 842"/>
                  <a:gd name="T93" fmla="*/ 677 h 801"/>
                  <a:gd name="T94" fmla="*/ 214 w 842"/>
                  <a:gd name="T95" fmla="*/ 615 h 801"/>
                  <a:gd name="T96" fmla="*/ 212 w 842"/>
                  <a:gd name="T97" fmla="*/ 612 h 801"/>
                  <a:gd name="T98" fmla="*/ 210 w 842"/>
                  <a:gd name="T99" fmla="*/ 609 h 801"/>
                  <a:gd name="T100" fmla="*/ 206 w 842"/>
                  <a:gd name="T101" fmla="*/ 605 h 801"/>
                  <a:gd name="T102" fmla="*/ 202 w 842"/>
                  <a:gd name="T103" fmla="*/ 603 h 801"/>
                  <a:gd name="T104" fmla="*/ 199 w 842"/>
                  <a:gd name="T105" fmla="*/ 602 h 801"/>
                  <a:gd name="T106" fmla="*/ 103 w 842"/>
                  <a:gd name="T107" fmla="*/ 611 h 801"/>
                  <a:gd name="T108" fmla="*/ 93 w 842"/>
                  <a:gd name="T109" fmla="*/ 642 h 801"/>
                  <a:gd name="T110" fmla="*/ 49 w 842"/>
                  <a:gd name="T111" fmla="*/ 770 h 801"/>
                  <a:gd name="T112" fmla="*/ 183 w 842"/>
                  <a:gd name="T113" fmla="*/ 664 h 801"/>
                  <a:gd name="T114" fmla="*/ 207 w 842"/>
                  <a:gd name="T115" fmla="*/ 730 h 801"/>
                  <a:gd name="T116" fmla="*/ 214 w 842"/>
                  <a:gd name="T117" fmla="*/ 61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2" h="801">
                    <a:moveTo>
                      <a:pt x="772" y="0"/>
                    </a:moveTo>
                    <a:cubicBezTo>
                      <a:pt x="733" y="0"/>
                      <a:pt x="702" y="32"/>
                      <a:pt x="702" y="71"/>
                    </a:cubicBezTo>
                    <a:cubicBezTo>
                      <a:pt x="702" y="76"/>
                      <a:pt x="702" y="80"/>
                      <a:pt x="703" y="85"/>
                    </a:cubicBezTo>
                    <a:cubicBezTo>
                      <a:pt x="702" y="85"/>
                      <a:pt x="701" y="86"/>
                      <a:pt x="700" y="86"/>
                    </a:cubicBezTo>
                    <a:cubicBezTo>
                      <a:pt x="613" y="134"/>
                      <a:pt x="613" y="134"/>
                      <a:pt x="613" y="134"/>
                    </a:cubicBezTo>
                    <a:cubicBezTo>
                      <a:pt x="613" y="134"/>
                      <a:pt x="612" y="134"/>
                      <a:pt x="612" y="134"/>
                    </a:cubicBezTo>
                    <a:cubicBezTo>
                      <a:pt x="603" y="124"/>
                      <a:pt x="589" y="118"/>
                      <a:pt x="575" y="118"/>
                    </a:cubicBezTo>
                    <a:cubicBezTo>
                      <a:pt x="563" y="118"/>
                      <a:pt x="551" y="123"/>
                      <a:pt x="542" y="130"/>
                    </a:cubicBezTo>
                    <a:cubicBezTo>
                      <a:pt x="428" y="65"/>
                      <a:pt x="428" y="65"/>
                      <a:pt x="428" y="65"/>
                    </a:cubicBezTo>
                    <a:cubicBezTo>
                      <a:pt x="429" y="61"/>
                      <a:pt x="429" y="57"/>
                      <a:pt x="429" y="53"/>
                    </a:cubicBezTo>
                    <a:cubicBezTo>
                      <a:pt x="429" y="25"/>
                      <a:pt x="406" y="1"/>
                      <a:pt x="377" y="1"/>
                    </a:cubicBezTo>
                    <a:cubicBezTo>
                      <a:pt x="349" y="1"/>
                      <a:pt x="325" y="25"/>
                      <a:pt x="325" y="53"/>
                    </a:cubicBezTo>
                    <a:cubicBezTo>
                      <a:pt x="325" y="55"/>
                      <a:pt x="325" y="58"/>
                      <a:pt x="326" y="60"/>
                    </a:cubicBezTo>
                    <a:cubicBezTo>
                      <a:pt x="122" y="180"/>
                      <a:pt x="122" y="180"/>
                      <a:pt x="122" y="180"/>
                    </a:cubicBezTo>
                    <a:cubicBezTo>
                      <a:pt x="109" y="166"/>
                      <a:pt x="91" y="157"/>
                      <a:pt x="70" y="157"/>
                    </a:cubicBezTo>
                    <a:cubicBezTo>
                      <a:pt x="32" y="157"/>
                      <a:pt x="0" y="189"/>
                      <a:pt x="0" y="228"/>
                    </a:cubicBezTo>
                    <a:cubicBezTo>
                      <a:pt x="0" y="266"/>
                      <a:pt x="32" y="298"/>
                      <a:pt x="70" y="298"/>
                    </a:cubicBezTo>
                    <a:cubicBezTo>
                      <a:pt x="109" y="298"/>
                      <a:pt x="141" y="266"/>
                      <a:pt x="141" y="228"/>
                    </a:cubicBezTo>
                    <a:cubicBezTo>
                      <a:pt x="141" y="225"/>
                      <a:pt x="141" y="223"/>
                      <a:pt x="140" y="220"/>
                    </a:cubicBezTo>
                    <a:cubicBezTo>
                      <a:pt x="349" y="97"/>
                      <a:pt x="349" y="97"/>
                      <a:pt x="349" y="97"/>
                    </a:cubicBezTo>
                    <a:cubicBezTo>
                      <a:pt x="357" y="102"/>
                      <a:pt x="367" y="105"/>
                      <a:pt x="377" y="105"/>
                    </a:cubicBezTo>
                    <a:cubicBezTo>
                      <a:pt x="386" y="105"/>
                      <a:pt x="394" y="103"/>
                      <a:pt x="401" y="100"/>
                    </a:cubicBezTo>
                    <a:cubicBezTo>
                      <a:pt x="523" y="169"/>
                      <a:pt x="523" y="169"/>
                      <a:pt x="523" y="169"/>
                    </a:cubicBezTo>
                    <a:cubicBezTo>
                      <a:pt x="523" y="170"/>
                      <a:pt x="523" y="170"/>
                      <a:pt x="523" y="170"/>
                    </a:cubicBezTo>
                    <a:cubicBezTo>
                      <a:pt x="523" y="199"/>
                      <a:pt x="546" y="223"/>
                      <a:pt x="575" y="223"/>
                    </a:cubicBezTo>
                    <a:cubicBezTo>
                      <a:pt x="602" y="223"/>
                      <a:pt x="624" y="202"/>
                      <a:pt x="627" y="175"/>
                    </a:cubicBezTo>
                    <a:cubicBezTo>
                      <a:pt x="629" y="174"/>
                      <a:pt x="632" y="174"/>
                      <a:pt x="634" y="172"/>
                    </a:cubicBezTo>
                    <a:cubicBezTo>
                      <a:pt x="721" y="125"/>
                      <a:pt x="721" y="125"/>
                      <a:pt x="721" y="125"/>
                    </a:cubicBezTo>
                    <a:cubicBezTo>
                      <a:pt x="723" y="124"/>
                      <a:pt x="724" y="123"/>
                      <a:pt x="725" y="123"/>
                    </a:cubicBezTo>
                    <a:cubicBezTo>
                      <a:pt x="737" y="134"/>
                      <a:pt x="754" y="141"/>
                      <a:pt x="772" y="141"/>
                    </a:cubicBezTo>
                    <a:cubicBezTo>
                      <a:pt x="811" y="141"/>
                      <a:pt x="842" y="110"/>
                      <a:pt x="842" y="71"/>
                    </a:cubicBezTo>
                    <a:cubicBezTo>
                      <a:pt x="842" y="32"/>
                      <a:pt x="811" y="0"/>
                      <a:pt x="772" y="0"/>
                    </a:cubicBezTo>
                    <a:close/>
                    <a:moveTo>
                      <a:pt x="553" y="264"/>
                    </a:moveTo>
                    <a:cubicBezTo>
                      <a:pt x="553" y="778"/>
                      <a:pt x="553" y="778"/>
                      <a:pt x="553" y="778"/>
                    </a:cubicBezTo>
                    <a:cubicBezTo>
                      <a:pt x="553" y="790"/>
                      <a:pt x="563" y="800"/>
                      <a:pt x="575" y="800"/>
                    </a:cubicBezTo>
                    <a:cubicBezTo>
                      <a:pt x="587" y="800"/>
                      <a:pt x="597" y="790"/>
                      <a:pt x="597" y="778"/>
                    </a:cubicBezTo>
                    <a:cubicBezTo>
                      <a:pt x="597" y="264"/>
                      <a:pt x="597" y="264"/>
                      <a:pt x="597" y="264"/>
                    </a:cubicBezTo>
                    <a:cubicBezTo>
                      <a:pt x="590" y="266"/>
                      <a:pt x="582" y="267"/>
                      <a:pt x="575" y="267"/>
                    </a:cubicBezTo>
                    <a:cubicBezTo>
                      <a:pt x="567" y="267"/>
                      <a:pt x="560" y="266"/>
                      <a:pt x="553" y="264"/>
                    </a:cubicBezTo>
                    <a:close/>
                    <a:moveTo>
                      <a:pt x="651" y="213"/>
                    </a:moveTo>
                    <a:cubicBezTo>
                      <a:pt x="651" y="778"/>
                      <a:pt x="651" y="778"/>
                      <a:pt x="651" y="778"/>
                    </a:cubicBezTo>
                    <a:cubicBezTo>
                      <a:pt x="651" y="790"/>
                      <a:pt x="661" y="800"/>
                      <a:pt x="673" y="800"/>
                    </a:cubicBezTo>
                    <a:cubicBezTo>
                      <a:pt x="686" y="800"/>
                      <a:pt x="695" y="790"/>
                      <a:pt x="695" y="778"/>
                    </a:cubicBezTo>
                    <a:cubicBezTo>
                      <a:pt x="695" y="189"/>
                      <a:pt x="695" y="189"/>
                      <a:pt x="695" y="189"/>
                    </a:cubicBezTo>
                    <a:cubicBezTo>
                      <a:pt x="655" y="211"/>
                      <a:pt x="655" y="211"/>
                      <a:pt x="655" y="211"/>
                    </a:cubicBezTo>
                    <a:cubicBezTo>
                      <a:pt x="654" y="212"/>
                      <a:pt x="653" y="212"/>
                      <a:pt x="651" y="213"/>
                    </a:cubicBezTo>
                    <a:close/>
                    <a:moveTo>
                      <a:pt x="750" y="183"/>
                    </a:moveTo>
                    <a:cubicBezTo>
                      <a:pt x="750" y="778"/>
                      <a:pt x="750" y="778"/>
                      <a:pt x="750" y="778"/>
                    </a:cubicBezTo>
                    <a:cubicBezTo>
                      <a:pt x="750" y="790"/>
                      <a:pt x="760" y="800"/>
                      <a:pt x="772" y="800"/>
                    </a:cubicBezTo>
                    <a:cubicBezTo>
                      <a:pt x="784" y="800"/>
                      <a:pt x="794" y="790"/>
                      <a:pt x="794" y="778"/>
                    </a:cubicBezTo>
                    <a:cubicBezTo>
                      <a:pt x="794" y="183"/>
                      <a:pt x="794" y="183"/>
                      <a:pt x="794" y="183"/>
                    </a:cubicBezTo>
                    <a:cubicBezTo>
                      <a:pt x="787" y="184"/>
                      <a:pt x="780" y="185"/>
                      <a:pt x="772" y="185"/>
                    </a:cubicBezTo>
                    <a:cubicBezTo>
                      <a:pt x="765" y="185"/>
                      <a:pt x="757" y="184"/>
                      <a:pt x="750" y="183"/>
                    </a:cubicBezTo>
                    <a:close/>
                    <a:moveTo>
                      <a:pt x="103" y="337"/>
                    </a:moveTo>
                    <a:cubicBezTo>
                      <a:pt x="93" y="341"/>
                      <a:pt x="82" y="342"/>
                      <a:pt x="70" y="342"/>
                    </a:cubicBezTo>
                    <a:cubicBezTo>
                      <a:pt x="66" y="342"/>
                      <a:pt x="63" y="342"/>
                      <a:pt x="59" y="342"/>
                    </a:cubicBezTo>
                    <a:cubicBezTo>
                      <a:pt x="59" y="429"/>
                      <a:pt x="59" y="429"/>
                      <a:pt x="59" y="429"/>
                    </a:cubicBezTo>
                    <a:cubicBezTo>
                      <a:pt x="71" y="408"/>
                      <a:pt x="86" y="389"/>
                      <a:pt x="103" y="372"/>
                    </a:cubicBezTo>
                    <a:lnTo>
                      <a:pt x="103" y="337"/>
                    </a:lnTo>
                    <a:close/>
                    <a:moveTo>
                      <a:pt x="158" y="261"/>
                    </a:moveTo>
                    <a:cubicBezTo>
                      <a:pt x="158" y="331"/>
                      <a:pt x="158" y="331"/>
                      <a:pt x="158" y="331"/>
                    </a:cubicBezTo>
                    <a:cubicBezTo>
                      <a:pt x="172" y="323"/>
                      <a:pt x="186" y="316"/>
                      <a:pt x="202" y="311"/>
                    </a:cubicBezTo>
                    <a:cubicBezTo>
                      <a:pt x="202" y="235"/>
                      <a:pt x="202" y="235"/>
                      <a:pt x="202" y="235"/>
                    </a:cubicBezTo>
                    <a:lnTo>
                      <a:pt x="158" y="261"/>
                    </a:lnTo>
                    <a:close/>
                    <a:moveTo>
                      <a:pt x="300" y="298"/>
                    </a:moveTo>
                    <a:cubicBezTo>
                      <a:pt x="300" y="177"/>
                      <a:pt x="300" y="177"/>
                      <a:pt x="300" y="177"/>
                    </a:cubicBezTo>
                    <a:cubicBezTo>
                      <a:pt x="256" y="203"/>
                      <a:pt x="256" y="203"/>
                      <a:pt x="256" y="203"/>
                    </a:cubicBezTo>
                    <a:cubicBezTo>
                      <a:pt x="256" y="299"/>
                      <a:pt x="256" y="299"/>
                      <a:pt x="256" y="299"/>
                    </a:cubicBezTo>
                    <a:cubicBezTo>
                      <a:pt x="265" y="298"/>
                      <a:pt x="275" y="298"/>
                      <a:pt x="284" y="298"/>
                    </a:cubicBezTo>
                    <a:cubicBezTo>
                      <a:pt x="289" y="298"/>
                      <a:pt x="295" y="298"/>
                      <a:pt x="300" y="298"/>
                    </a:cubicBezTo>
                    <a:close/>
                    <a:moveTo>
                      <a:pt x="377" y="149"/>
                    </a:moveTo>
                    <a:cubicBezTo>
                      <a:pt x="370" y="149"/>
                      <a:pt x="362" y="149"/>
                      <a:pt x="355" y="147"/>
                    </a:cubicBezTo>
                    <a:cubicBezTo>
                      <a:pt x="355" y="308"/>
                      <a:pt x="355" y="308"/>
                      <a:pt x="355" y="308"/>
                    </a:cubicBezTo>
                    <a:cubicBezTo>
                      <a:pt x="371" y="312"/>
                      <a:pt x="385" y="318"/>
                      <a:pt x="399" y="325"/>
                    </a:cubicBezTo>
                    <a:cubicBezTo>
                      <a:pt x="399" y="147"/>
                      <a:pt x="399" y="147"/>
                      <a:pt x="399" y="147"/>
                    </a:cubicBezTo>
                    <a:cubicBezTo>
                      <a:pt x="392" y="149"/>
                      <a:pt x="385" y="149"/>
                      <a:pt x="377" y="149"/>
                    </a:cubicBezTo>
                    <a:close/>
                    <a:moveTo>
                      <a:pt x="498" y="206"/>
                    </a:moveTo>
                    <a:cubicBezTo>
                      <a:pt x="454" y="181"/>
                      <a:pt x="454" y="181"/>
                      <a:pt x="454" y="181"/>
                    </a:cubicBezTo>
                    <a:cubicBezTo>
                      <a:pt x="454" y="362"/>
                      <a:pt x="454" y="362"/>
                      <a:pt x="454" y="362"/>
                    </a:cubicBezTo>
                    <a:cubicBezTo>
                      <a:pt x="471" y="376"/>
                      <a:pt x="486" y="393"/>
                      <a:pt x="498" y="411"/>
                    </a:cubicBezTo>
                    <a:lnTo>
                      <a:pt x="498" y="206"/>
                    </a:lnTo>
                    <a:close/>
                    <a:moveTo>
                      <a:pt x="454" y="752"/>
                    </a:moveTo>
                    <a:cubicBezTo>
                      <a:pt x="454" y="778"/>
                      <a:pt x="454" y="778"/>
                      <a:pt x="454" y="778"/>
                    </a:cubicBezTo>
                    <a:cubicBezTo>
                      <a:pt x="454" y="790"/>
                      <a:pt x="464" y="800"/>
                      <a:pt x="476" y="800"/>
                    </a:cubicBezTo>
                    <a:cubicBezTo>
                      <a:pt x="488" y="800"/>
                      <a:pt x="498" y="790"/>
                      <a:pt x="498" y="778"/>
                    </a:cubicBezTo>
                    <a:cubicBezTo>
                      <a:pt x="498" y="702"/>
                      <a:pt x="498" y="702"/>
                      <a:pt x="498" y="702"/>
                    </a:cubicBezTo>
                    <a:cubicBezTo>
                      <a:pt x="486" y="721"/>
                      <a:pt x="471" y="737"/>
                      <a:pt x="454" y="752"/>
                    </a:cubicBezTo>
                    <a:close/>
                    <a:moveTo>
                      <a:pt x="284" y="342"/>
                    </a:moveTo>
                    <a:cubicBezTo>
                      <a:pt x="165" y="342"/>
                      <a:pt x="69" y="438"/>
                      <a:pt x="69" y="557"/>
                    </a:cubicBezTo>
                    <a:cubicBezTo>
                      <a:pt x="69" y="564"/>
                      <a:pt x="69" y="571"/>
                      <a:pt x="70" y="578"/>
                    </a:cubicBezTo>
                    <a:cubicBezTo>
                      <a:pt x="79" y="572"/>
                      <a:pt x="89" y="568"/>
                      <a:pt x="99" y="567"/>
                    </a:cubicBezTo>
                    <a:cubicBezTo>
                      <a:pt x="191" y="559"/>
                      <a:pt x="191" y="559"/>
                      <a:pt x="191" y="559"/>
                    </a:cubicBezTo>
                    <a:cubicBezTo>
                      <a:pt x="192" y="559"/>
                      <a:pt x="194" y="558"/>
                      <a:pt x="197" y="558"/>
                    </a:cubicBezTo>
                    <a:cubicBezTo>
                      <a:pt x="212" y="557"/>
                      <a:pt x="212" y="557"/>
                      <a:pt x="212" y="557"/>
                    </a:cubicBezTo>
                    <a:cubicBezTo>
                      <a:pt x="218" y="562"/>
                      <a:pt x="218" y="562"/>
                      <a:pt x="218" y="562"/>
                    </a:cubicBezTo>
                    <a:cubicBezTo>
                      <a:pt x="223" y="563"/>
                      <a:pt x="223" y="563"/>
                      <a:pt x="223" y="563"/>
                    </a:cubicBezTo>
                    <a:cubicBezTo>
                      <a:pt x="226" y="566"/>
                      <a:pt x="226" y="566"/>
                      <a:pt x="226" y="566"/>
                    </a:cubicBezTo>
                    <a:cubicBezTo>
                      <a:pt x="229" y="567"/>
                      <a:pt x="229" y="567"/>
                      <a:pt x="229" y="567"/>
                    </a:cubicBezTo>
                    <a:cubicBezTo>
                      <a:pt x="231" y="569"/>
                      <a:pt x="231" y="569"/>
                      <a:pt x="231" y="569"/>
                    </a:cubicBezTo>
                    <a:cubicBezTo>
                      <a:pt x="234" y="571"/>
                      <a:pt x="235" y="572"/>
                      <a:pt x="236" y="573"/>
                    </a:cubicBezTo>
                    <a:cubicBezTo>
                      <a:pt x="238" y="574"/>
                      <a:pt x="239" y="575"/>
                      <a:pt x="241" y="577"/>
                    </a:cubicBezTo>
                    <a:cubicBezTo>
                      <a:pt x="243" y="578"/>
                      <a:pt x="243" y="578"/>
                      <a:pt x="243" y="578"/>
                    </a:cubicBezTo>
                    <a:cubicBezTo>
                      <a:pt x="245" y="581"/>
                      <a:pt x="245" y="581"/>
                      <a:pt x="245" y="581"/>
                    </a:cubicBezTo>
                    <a:cubicBezTo>
                      <a:pt x="248" y="584"/>
                      <a:pt x="248" y="584"/>
                      <a:pt x="248" y="584"/>
                    </a:cubicBezTo>
                    <a:cubicBezTo>
                      <a:pt x="250" y="588"/>
                      <a:pt x="250" y="588"/>
                      <a:pt x="250" y="588"/>
                    </a:cubicBezTo>
                    <a:cubicBezTo>
                      <a:pt x="256" y="593"/>
                      <a:pt x="256" y="593"/>
                      <a:pt x="256" y="593"/>
                    </a:cubicBezTo>
                    <a:cubicBezTo>
                      <a:pt x="257" y="609"/>
                      <a:pt x="257" y="609"/>
                      <a:pt x="257" y="609"/>
                    </a:cubicBezTo>
                    <a:cubicBezTo>
                      <a:pt x="258" y="611"/>
                      <a:pt x="258" y="613"/>
                      <a:pt x="258" y="615"/>
                    </a:cubicBezTo>
                    <a:cubicBezTo>
                      <a:pt x="260" y="635"/>
                      <a:pt x="260" y="635"/>
                      <a:pt x="260" y="635"/>
                    </a:cubicBezTo>
                    <a:cubicBezTo>
                      <a:pt x="266" y="637"/>
                      <a:pt x="271" y="637"/>
                      <a:pt x="277" y="637"/>
                    </a:cubicBezTo>
                    <a:cubicBezTo>
                      <a:pt x="301" y="637"/>
                      <a:pt x="313" y="629"/>
                      <a:pt x="313" y="612"/>
                    </a:cubicBezTo>
                    <a:cubicBezTo>
                      <a:pt x="313" y="604"/>
                      <a:pt x="310" y="596"/>
                      <a:pt x="304" y="589"/>
                    </a:cubicBezTo>
                    <a:cubicBezTo>
                      <a:pt x="298" y="581"/>
                      <a:pt x="286" y="573"/>
                      <a:pt x="269" y="564"/>
                    </a:cubicBezTo>
                    <a:cubicBezTo>
                      <a:pt x="251" y="556"/>
                      <a:pt x="239" y="548"/>
                      <a:pt x="233" y="543"/>
                    </a:cubicBezTo>
                    <a:cubicBezTo>
                      <a:pt x="226" y="537"/>
                      <a:pt x="222" y="530"/>
                      <a:pt x="219" y="522"/>
                    </a:cubicBezTo>
                    <a:cubicBezTo>
                      <a:pt x="215" y="514"/>
                      <a:pt x="214" y="505"/>
                      <a:pt x="214" y="495"/>
                    </a:cubicBezTo>
                    <a:cubicBezTo>
                      <a:pt x="214" y="480"/>
                      <a:pt x="218" y="468"/>
                      <a:pt x="227" y="457"/>
                    </a:cubicBezTo>
                    <a:cubicBezTo>
                      <a:pt x="236" y="446"/>
                      <a:pt x="248" y="438"/>
                      <a:pt x="264" y="435"/>
                    </a:cubicBezTo>
                    <a:cubicBezTo>
                      <a:pt x="264" y="406"/>
                      <a:pt x="264" y="406"/>
                      <a:pt x="264" y="406"/>
                    </a:cubicBezTo>
                    <a:cubicBezTo>
                      <a:pt x="300" y="406"/>
                      <a:pt x="300" y="406"/>
                      <a:pt x="300" y="406"/>
                    </a:cubicBezTo>
                    <a:cubicBezTo>
                      <a:pt x="300" y="433"/>
                      <a:pt x="300" y="433"/>
                      <a:pt x="300" y="433"/>
                    </a:cubicBezTo>
                    <a:cubicBezTo>
                      <a:pt x="320" y="435"/>
                      <a:pt x="335" y="439"/>
                      <a:pt x="344" y="447"/>
                    </a:cubicBezTo>
                    <a:cubicBezTo>
                      <a:pt x="332" y="483"/>
                      <a:pt x="332" y="483"/>
                      <a:pt x="332" y="483"/>
                    </a:cubicBezTo>
                    <a:cubicBezTo>
                      <a:pt x="317" y="472"/>
                      <a:pt x="302" y="468"/>
                      <a:pt x="285" y="468"/>
                    </a:cubicBezTo>
                    <a:cubicBezTo>
                      <a:pt x="275" y="468"/>
                      <a:pt x="268" y="470"/>
                      <a:pt x="263" y="476"/>
                    </a:cubicBezTo>
                    <a:cubicBezTo>
                      <a:pt x="258" y="480"/>
                      <a:pt x="255" y="487"/>
                      <a:pt x="255" y="495"/>
                    </a:cubicBezTo>
                    <a:cubicBezTo>
                      <a:pt x="255" y="509"/>
                      <a:pt x="270" y="522"/>
                      <a:pt x="300" y="537"/>
                    </a:cubicBezTo>
                    <a:cubicBezTo>
                      <a:pt x="315" y="545"/>
                      <a:pt x="327" y="551"/>
                      <a:pt x="333" y="558"/>
                    </a:cubicBezTo>
                    <a:cubicBezTo>
                      <a:pt x="340" y="564"/>
                      <a:pt x="346" y="572"/>
                      <a:pt x="349" y="581"/>
                    </a:cubicBezTo>
                    <a:cubicBezTo>
                      <a:pt x="353" y="589"/>
                      <a:pt x="355" y="598"/>
                      <a:pt x="355" y="609"/>
                    </a:cubicBezTo>
                    <a:cubicBezTo>
                      <a:pt x="355" y="624"/>
                      <a:pt x="350" y="637"/>
                      <a:pt x="340" y="648"/>
                    </a:cubicBezTo>
                    <a:cubicBezTo>
                      <a:pt x="331" y="659"/>
                      <a:pt x="317" y="667"/>
                      <a:pt x="300" y="671"/>
                    </a:cubicBezTo>
                    <a:cubicBezTo>
                      <a:pt x="300" y="708"/>
                      <a:pt x="300" y="708"/>
                      <a:pt x="300" y="708"/>
                    </a:cubicBezTo>
                    <a:cubicBezTo>
                      <a:pt x="266" y="708"/>
                      <a:pt x="266" y="708"/>
                      <a:pt x="266" y="708"/>
                    </a:cubicBezTo>
                    <a:cubicBezTo>
                      <a:pt x="268" y="724"/>
                      <a:pt x="263" y="739"/>
                      <a:pt x="252" y="752"/>
                    </a:cubicBezTo>
                    <a:cubicBezTo>
                      <a:pt x="247" y="758"/>
                      <a:pt x="241" y="762"/>
                      <a:pt x="235" y="766"/>
                    </a:cubicBezTo>
                    <a:cubicBezTo>
                      <a:pt x="251" y="770"/>
                      <a:pt x="267" y="772"/>
                      <a:pt x="284" y="772"/>
                    </a:cubicBezTo>
                    <a:cubicBezTo>
                      <a:pt x="402" y="772"/>
                      <a:pt x="499" y="675"/>
                      <a:pt x="499" y="557"/>
                    </a:cubicBezTo>
                    <a:cubicBezTo>
                      <a:pt x="499" y="438"/>
                      <a:pt x="402" y="342"/>
                      <a:pt x="284" y="342"/>
                    </a:cubicBezTo>
                    <a:close/>
                    <a:moveTo>
                      <a:pt x="263" y="674"/>
                    </a:moveTo>
                    <a:cubicBezTo>
                      <a:pt x="264" y="677"/>
                      <a:pt x="264" y="677"/>
                      <a:pt x="264" y="677"/>
                    </a:cubicBezTo>
                    <a:cubicBezTo>
                      <a:pt x="264" y="674"/>
                      <a:pt x="264" y="674"/>
                      <a:pt x="264" y="674"/>
                    </a:cubicBezTo>
                    <a:cubicBezTo>
                      <a:pt x="264" y="674"/>
                      <a:pt x="264" y="674"/>
                      <a:pt x="263" y="674"/>
                    </a:cubicBezTo>
                    <a:close/>
                    <a:moveTo>
                      <a:pt x="214" y="615"/>
                    </a:moveTo>
                    <a:cubicBezTo>
                      <a:pt x="214" y="615"/>
                      <a:pt x="214" y="615"/>
                      <a:pt x="214" y="615"/>
                    </a:cubicBezTo>
                    <a:cubicBezTo>
                      <a:pt x="214" y="615"/>
                      <a:pt x="214" y="615"/>
                      <a:pt x="214" y="615"/>
                    </a:cubicBezTo>
                    <a:cubicBezTo>
                      <a:pt x="213" y="614"/>
                      <a:pt x="213" y="613"/>
                      <a:pt x="212" y="612"/>
                    </a:cubicBezTo>
                    <a:cubicBezTo>
                      <a:pt x="212" y="612"/>
                      <a:pt x="212" y="612"/>
                      <a:pt x="212" y="612"/>
                    </a:cubicBezTo>
                    <a:cubicBezTo>
                      <a:pt x="212" y="612"/>
                      <a:pt x="212" y="612"/>
                      <a:pt x="212" y="611"/>
                    </a:cubicBezTo>
                    <a:cubicBezTo>
                      <a:pt x="212" y="611"/>
                      <a:pt x="211" y="610"/>
                      <a:pt x="210" y="609"/>
                    </a:cubicBezTo>
                    <a:cubicBezTo>
                      <a:pt x="210" y="609"/>
                      <a:pt x="210" y="609"/>
                      <a:pt x="210" y="609"/>
                    </a:cubicBezTo>
                    <a:cubicBezTo>
                      <a:pt x="210" y="608"/>
                      <a:pt x="209" y="607"/>
                      <a:pt x="208" y="607"/>
                    </a:cubicBezTo>
                    <a:cubicBezTo>
                      <a:pt x="207" y="606"/>
                      <a:pt x="207" y="605"/>
                      <a:pt x="206" y="605"/>
                    </a:cubicBezTo>
                    <a:cubicBezTo>
                      <a:pt x="206" y="605"/>
                      <a:pt x="206" y="605"/>
                      <a:pt x="205" y="605"/>
                    </a:cubicBezTo>
                    <a:cubicBezTo>
                      <a:pt x="204" y="604"/>
                      <a:pt x="203" y="604"/>
                      <a:pt x="203" y="604"/>
                    </a:cubicBezTo>
                    <a:cubicBezTo>
                      <a:pt x="203" y="604"/>
                      <a:pt x="203" y="604"/>
                      <a:pt x="202" y="603"/>
                    </a:cubicBezTo>
                    <a:cubicBezTo>
                      <a:pt x="202" y="603"/>
                      <a:pt x="202" y="603"/>
                      <a:pt x="202" y="603"/>
                    </a:cubicBezTo>
                    <a:cubicBezTo>
                      <a:pt x="201" y="603"/>
                      <a:pt x="200" y="603"/>
                      <a:pt x="199" y="603"/>
                    </a:cubicBezTo>
                    <a:cubicBezTo>
                      <a:pt x="199" y="603"/>
                      <a:pt x="199" y="603"/>
                      <a:pt x="199" y="602"/>
                    </a:cubicBezTo>
                    <a:cubicBezTo>
                      <a:pt x="199" y="602"/>
                      <a:pt x="199" y="602"/>
                      <a:pt x="198" y="603"/>
                    </a:cubicBezTo>
                    <a:cubicBezTo>
                      <a:pt x="197" y="602"/>
                      <a:pt x="196" y="603"/>
                      <a:pt x="195" y="603"/>
                    </a:cubicBezTo>
                    <a:cubicBezTo>
                      <a:pt x="195" y="603"/>
                      <a:pt x="195" y="603"/>
                      <a:pt x="103" y="611"/>
                    </a:cubicBezTo>
                    <a:cubicBezTo>
                      <a:pt x="99" y="611"/>
                      <a:pt x="94" y="614"/>
                      <a:pt x="91" y="617"/>
                    </a:cubicBezTo>
                    <a:cubicBezTo>
                      <a:pt x="88" y="621"/>
                      <a:pt x="87" y="626"/>
                      <a:pt x="87" y="630"/>
                    </a:cubicBezTo>
                    <a:cubicBezTo>
                      <a:pt x="88" y="635"/>
                      <a:pt x="90" y="639"/>
                      <a:pt x="93" y="642"/>
                    </a:cubicBezTo>
                    <a:cubicBezTo>
                      <a:pt x="97" y="645"/>
                      <a:pt x="102" y="647"/>
                      <a:pt x="106" y="646"/>
                    </a:cubicBezTo>
                    <a:cubicBezTo>
                      <a:pt x="106" y="646"/>
                      <a:pt x="106" y="646"/>
                      <a:pt x="156" y="642"/>
                    </a:cubicBezTo>
                    <a:cubicBezTo>
                      <a:pt x="156" y="642"/>
                      <a:pt x="156" y="642"/>
                      <a:pt x="49" y="770"/>
                    </a:cubicBezTo>
                    <a:cubicBezTo>
                      <a:pt x="43" y="777"/>
                      <a:pt x="44" y="789"/>
                      <a:pt x="51" y="795"/>
                    </a:cubicBezTo>
                    <a:cubicBezTo>
                      <a:pt x="59" y="801"/>
                      <a:pt x="70" y="800"/>
                      <a:pt x="76" y="793"/>
                    </a:cubicBezTo>
                    <a:cubicBezTo>
                      <a:pt x="76" y="793"/>
                      <a:pt x="76" y="793"/>
                      <a:pt x="183" y="664"/>
                    </a:cubicBezTo>
                    <a:cubicBezTo>
                      <a:pt x="183" y="664"/>
                      <a:pt x="183" y="664"/>
                      <a:pt x="187" y="714"/>
                    </a:cubicBezTo>
                    <a:cubicBezTo>
                      <a:pt x="188" y="718"/>
                      <a:pt x="190" y="723"/>
                      <a:pt x="194" y="726"/>
                    </a:cubicBezTo>
                    <a:cubicBezTo>
                      <a:pt x="197" y="729"/>
                      <a:pt x="202" y="730"/>
                      <a:pt x="207" y="730"/>
                    </a:cubicBezTo>
                    <a:cubicBezTo>
                      <a:pt x="211" y="729"/>
                      <a:pt x="216" y="727"/>
                      <a:pt x="219" y="723"/>
                    </a:cubicBezTo>
                    <a:cubicBezTo>
                      <a:pt x="222" y="720"/>
                      <a:pt x="223" y="715"/>
                      <a:pt x="223" y="710"/>
                    </a:cubicBezTo>
                    <a:cubicBezTo>
                      <a:pt x="223" y="710"/>
                      <a:pt x="223" y="710"/>
                      <a:pt x="214" y="619"/>
                    </a:cubicBezTo>
                    <a:cubicBezTo>
                      <a:pt x="214" y="617"/>
                      <a:pt x="214" y="616"/>
                      <a:pt x="214" y="6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5" name="Oval 64">
              <a:extLst>
                <a:ext uri="{FF2B5EF4-FFF2-40B4-BE49-F238E27FC236}">
                  <a16:creationId xmlns:a16="http://schemas.microsoft.com/office/drawing/2014/main" id="{52F95B1B-AD9A-5730-23F5-53F89B08DC8D}"/>
                </a:ext>
              </a:extLst>
            </p:cNvPr>
            <p:cNvSpPr/>
            <p:nvPr/>
          </p:nvSpPr>
          <p:spPr>
            <a:xfrm>
              <a:off x="5026620" y="5308295"/>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grpSp>
      <p:grpSp>
        <p:nvGrpSpPr>
          <p:cNvPr id="87" name="Group 86">
            <a:extLst>
              <a:ext uri="{FF2B5EF4-FFF2-40B4-BE49-F238E27FC236}">
                <a16:creationId xmlns:a16="http://schemas.microsoft.com/office/drawing/2014/main" id="{15DE0B5D-B5FB-D98D-B0BF-8EC058FBD7C8}"/>
              </a:ext>
            </a:extLst>
          </p:cNvPr>
          <p:cNvGrpSpPr/>
          <p:nvPr/>
        </p:nvGrpSpPr>
        <p:grpSpPr>
          <a:xfrm>
            <a:off x="4190128" y="2377118"/>
            <a:ext cx="802294" cy="802294"/>
            <a:chOff x="4190128" y="1606476"/>
            <a:chExt cx="802294" cy="802294"/>
          </a:xfrm>
        </p:grpSpPr>
        <p:sp>
          <p:nvSpPr>
            <p:cNvPr id="43" name="Oval 42">
              <a:extLst>
                <a:ext uri="{FF2B5EF4-FFF2-40B4-BE49-F238E27FC236}">
                  <a16:creationId xmlns:a16="http://schemas.microsoft.com/office/drawing/2014/main" id="{F230F60F-67F8-6605-9763-18D7B2F2DDB3}"/>
                </a:ext>
              </a:extLst>
            </p:cNvPr>
            <p:cNvSpPr/>
            <p:nvPr/>
          </p:nvSpPr>
          <p:spPr>
            <a:xfrm>
              <a:off x="4190128" y="1606476"/>
              <a:ext cx="802294" cy="802294"/>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sp>
          <p:nvSpPr>
            <p:cNvPr id="44" name="Freeform 5">
              <a:extLst>
                <a:ext uri="{FF2B5EF4-FFF2-40B4-BE49-F238E27FC236}">
                  <a16:creationId xmlns:a16="http://schemas.microsoft.com/office/drawing/2014/main" id="{89364E0B-728E-3BBB-7787-8D896B5128AB}"/>
                </a:ext>
              </a:extLst>
            </p:cNvPr>
            <p:cNvSpPr>
              <a:spLocks noEditPoints="1"/>
            </p:cNvSpPr>
            <p:nvPr/>
          </p:nvSpPr>
          <p:spPr bwMode="auto">
            <a:xfrm>
              <a:off x="4339815" y="1756163"/>
              <a:ext cx="502920" cy="502920"/>
            </a:xfrm>
            <a:custGeom>
              <a:avLst/>
              <a:gdLst>
                <a:gd name="T0" fmla="*/ 368 w 794"/>
                <a:gd name="T1" fmla="*/ 489 h 876"/>
                <a:gd name="T2" fmla="*/ 387 w 794"/>
                <a:gd name="T3" fmla="*/ 635 h 876"/>
                <a:gd name="T4" fmla="*/ 407 w 794"/>
                <a:gd name="T5" fmla="*/ 635 h 876"/>
                <a:gd name="T6" fmla="*/ 381 w 794"/>
                <a:gd name="T7" fmla="*/ 835 h 876"/>
                <a:gd name="T8" fmla="*/ 344 w 794"/>
                <a:gd name="T9" fmla="*/ 790 h 876"/>
                <a:gd name="T10" fmla="*/ 337 w 794"/>
                <a:gd name="T11" fmla="*/ 749 h 876"/>
                <a:gd name="T12" fmla="*/ 348 w 794"/>
                <a:gd name="T13" fmla="*/ 721 h 876"/>
                <a:gd name="T14" fmla="*/ 338 w 794"/>
                <a:gd name="T15" fmla="*/ 684 h 876"/>
                <a:gd name="T16" fmla="*/ 397 w 794"/>
                <a:gd name="T17" fmla="*/ 406 h 876"/>
                <a:gd name="T18" fmla="*/ 397 w 794"/>
                <a:gd name="T19" fmla="*/ 406 h 876"/>
                <a:gd name="T20" fmla="*/ 456 w 794"/>
                <a:gd name="T21" fmla="*/ 437 h 876"/>
                <a:gd name="T22" fmla="*/ 576 w 794"/>
                <a:gd name="T23" fmla="*/ 345 h 876"/>
                <a:gd name="T24" fmla="*/ 555 w 794"/>
                <a:gd name="T25" fmla="*/ 276 h 876"/>
                <a:gd name="T26" fmla="*/ 619 w 794"/>
                <a:gd name="T27" fmla="*/ 260 h 876"/>
                <a:gd name="T28" fmla="*/ 673 w 794"/>
                <a:gd name="T29" fmla="*/ 197 h 876"/>
                <a:gd name="T30" fmla="*/ 699 w 794"/>
                <a:gd name="T31" fmla="*/ 346 h 876"/>
                <a:gd name="T32" fmla="*/ 654 w 794"/>
                <a:gd name="T33" fmla="*/ 325 h 876"/>
                <a:gd name="T34" fmla="*/ 620 w 794"/>
                <a:gd name="T35" fmla="*/ 291 h 876"/>
                <a:gd name="T36" fmla="*/ 218 w 794"/>
                <a:gd name="T37" fmla="*/ 345 h 876"/>
                <a:gd name="T38" fmla="*/ 346 w 794"/>
                <a:gd name="T39" fmla="*/ 407 h 876"/>
                <a:gd name="T40" fmla="*/ 334 w 794"/>
                <a:gd name="T41" fmla="*/ 389 h 876"/>
                <a:gd name="T42" fmla="*/ 0 w 794"/>
                <a:gd name="T43" fmla="*/ 276 h 876"/>
                <a:gd name="T44" fmla="*/ 178 w 794"/>
                <a:gd name="T45" fmla="*/ 205 h 876"/>
                <a:gd name="T46" fmla="*/ 168 w 794"/>
                <a:gd name="T47" fmla="*/ 242 h 876"/>
                <a:gd name="T48" fmla="*/ 179 w 794"/>
                <a:gd name="T49" fmla="*/ 270 h 876"/>
                <a:gd name="T50" fmla="*/ 173 w 794"/>
                <a:gd name="T51" fmla="*/ 311 h 876"/>
                <a:gd name="T52" fmla="*/ 136 w 794"/>
                <a:gd name="T53" fmla="*/ 356 h 876"/>
                <a:gd name="T54" fmla="*/ 58 w 794"/>
                <a:gd name="T55" fmla="*/ 233 h 876"/>
                <a:gd name="T56" fmla="*/ 423 w 794"/>
                <a:gd name="T57" fmla="*/ 382 h 876"/>
                <a:gd name="T58" fmla="*/ 407 w 794"/>
                <a:gd name="T59" fmla="*/ 356 h 876"/>
                <a:gd name="T60" fmla="*/ 277 w 794"/>
                <a:gd name="T61" fmla="*/ 120 h 876"/>
                <a:gd name="T62" fmla="*/ 456 w 794"/>
                <a:gd name="T63" fmla="*/ 49 h 876"/>
                <a:gd name="T64" fmla="*/ 446 w 794"/>
                <a:gd name="T65" fmla="*/ 86 h 876"/>
                <a:gd name="T66" fmla="*/ 457 w 794"/>
                <a:gd name="T67" fmla="*/ 114 h 876"/>
                <a:gd name="T68" fmla="*/ 450 w 794"/>
                <a:gd name="T69" fmla="*/ 154 h 876"/>
                <a:gd name="T70" fmla="*/ 413 w 794"/>
                <a:gd name="T71" fmla="*/ 199 h 876"/>
                <a:gd name="T72" fmla="*/ 335 w 794"/>
                <a:gd name="T73" fmla="*/ 77 h 876"/>
                <a:gd name="T74" fmla="*/ 338 w 794"/>
                <a:gd name="T75" fmla="*/ 435 h 876"/>
                <a:gd name="T76" fmla="*/ 218 w 794"/>
                <a:gd name="T77" fmla="*/ 526 h 876"/>
                <a:gd name="T78" fmla="*/ 239 w 794"/>
                <a:gd name="T79" fmla="*/ 594 h 876"/>
                <a:gd name="T80" fmla="*/ 174 w 794"/>
                <a:gd name="T81" fmla="*/ 609 h 876"/>
                <a:gd name="T82" fmla="*/ 140 w 794"/>
                <a:gd name="T83" fmla="*/ 643 h 876"/>
                <a:gd name="T84" fmla="*/ 95 w 794"/>
                <a:gd name="T85" fmla="*/ 663 h 876"/>
                <a:gd name="T86" fmla="*/ 121 w 794"/>
                <a:gd name="T87" fmla="*/ 517 h 876"/>
                <a:gd name="T88" fmla="*/ 175 w 794"/>
                <a:gd name="T89" fmla="*/ 578 h 876"/>
                <a:gd name="T90" fmla="*/ 576 w 794"/>
                <a:gd name="T91" fmla="*/ 526 h 876"/>
                <a:gd name="T92" fmla="*/ 429 w 794"/>
                <a:gd name="T93" fmla="*/ 485 h 876"/>
                <a:gd name="T94" fmla="*/ 566 w 794"/>
                <a:gd name="T95" fmla="*/ 544 h 876"/>
                <a:gd name="T96" fmla="*/ 675 w 794"/>
                <a:gd name="T97" fmla="*/ 475 h 876"/>
                <a:gd name="T98" fmla="*/ 658 w 794"/>
                <a:gd name="T99" fmla="*/ 674 h 876"/>
                <a:gd name="T100" fmla="*/ 621 w 794"/>
                <a:gd name="T101" fmla="*/ 629 h 876"/>
                <a:gd name="T102" fmla="*/ 615 w 794"/>
                <a:gd name="T103" fmla="*/ 589 h 876"/>
                <a:gd name="T104" fmla="*/ 626 w 794"/>
                <a:gd name="T105" fmla="*/ 561 h 876"/>
                <a:gd name="T106" fmla="*/ 616 w 794"/>
                <a:gd name="T107" fmla="*/ 5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4" h="876">
                  <a:moveTo>
                    <a:pt x="407" y="635"/>
                  </a:moveTo>
                  <a:cubicBezTo>
                    <a:pt x="407" y="507"/>
                    <a:pt x="407" y="507"/>
                    <a:pt x="407" y="507"/>
                  </a:cubicBezTo>
                  <a:cubicBezTo>
                    <a:pt x="407" y="501"/>
                    <a:pt x="403" y="496"/>
                    <a:pt x="397" y="496"/>
                  </a:cubicBezTo>
                  <a:cubicBezTo>
                    <a:pt x="387" y="496"/>
                    <a:pt x="377" y="494"/>
                    <a:pt x="368" y="489"/>
                  </a:cubicBezTo>
                  <a:cubicBezTo>
                    <a:pt x="363" y="486"/>
                    <a:pt x="357" y="488"/>
                    <a:pt x="354" y="493"/>
                  </a:cubicBezTo>
                  <a:cubicBezTo>
                    <a:pt x="352" y="498"/>
                    <a:pt x="353" y="504"/>
                    <a:pt x="358" y="507"/>
                  </a:cubicBezTo>
                  <a:cubicBezTo>
                    <a:pt x="367" y="512"/>
                    <a:pt x="377" y="515"/>
                    <a:pt x="387" y="517"/>
                  </a:cubicBezTo>
                  <a:cubicBezTo>
                    <a:pt x="387" y="635"/>
                    <a:pt x="387" y="635"/>
                    <a:pt x="387" y="635"/>
                  </a:cubicBezTo>
                  <a:cubicBezTo>
                    <a:pt x="325" y="640"/>
                    <a:pt x="277" y="692"/>
                    <a:pt x="277" y="755"/>
                  </a:cubicBezTo>
                  <a:cubicBezTo>
                    <a:pt x="277" y="822"/>
                    <a:pt x="331" y="876"/>
                    <a:pt x="397" y="876"/>
                  </a:cubicBezTo>
                  <a:cubicBezTo>
                    <a:pt x="463" y="876"/>
                    <a:pt x="517" y="822"/>
                    <a:pt x="517" y="755"/>
                  </a:cubicBezTo>
                  <a:cubicBezTo>
                    <a:pt x="517" y="692"/>
                    <a:pt x="469" y="640"/>
                    <a:pt x="407" y="635"/>
                  </a:cubicBezTo>
                  <a:close/>
                  <a:moveTo>
                    <a:pt x="438" y="787"/>
                  </a:moveTo>
                  <a:cubicBezTo>
                    <a:pt x="438" y="822"/>
                    <a:pt x="438" y="822"/>
                    <a:pt x="438" y="822"/>
                  </a:cubicBezTo>
                  <a:cubicBezTo>
                    <a:pt x="438" y="824"/>
                    <a:pt x="437" y="825"/>
                    <a:pt x="436" y="826"/>
                  </a:cubicBezTo>
                  <a:cubicBezTo>
                    <a:pt x="413" y="835"/>
                    <a:pt x="383" y="835"/>
                    <a:pt x="381" y="835"/>
                  </a:cubicBezTo>
                  <a:cubicBezTo>
                    <a:pt x="378" y="835"/>
                    <a:pt x="377" y="834"/>
                    <a:pt x="377" y="832"/>
                  </a:cubicBezTo>
                  <a:cubicBezTo>
                    <a:pt x="377" y="808"/>
                    <a:pt x="377" y="808"/>
                    <a:pt x="377" y="808"/>
                  </a:cubicBezTo>
                  <a:cubicBezTo>
                    <a:pt x="363" y="809"/>
                    <a:pt x="352" y="807"/>
                    <a:pt x="349" y="806"/>
                  </a:cubicBezTo>
                  <a:cubicBezTo>
                    <a:pt x="345" y="804"/>
                    <a:pt x="345" y="799"/>
                    <a:pt x="344" y="790"/>
                  </a:cubicBezTo>
                  <a:cubicBezTo>
                    <a:pt x="344" y="789"/>
                    <a:pt x="344" y="789"/>
                    <a:pt x="344" y="789"/>
                  </a:cubicBezTo>
                  <a:cubicBezTo>
                    <a:pt x="344" y="783"/>
                    <a:pt x="344" y="775"/>
                    <a:pt x="345" y="770"/>
                  </a:cubicBezTo>
                  <a:cubicBezTo>
                    <a:pt x="334" y="769"/>
                    <a:pt x="331" y="764"/>
                    <a:pt x="331" y="762"/>
                  </a:cubicBezTo>
                  <a:cubicBezTo>
                    <a:pt x="329" y="758"/>
                    <a:pt x="333" y="754"/>
                    <a:pt x="337" y="749"/>
                  </a:cubicBezTo>
                  <a:cubicBezTo>
                    <a:pt x="338" y="749"/>
                    <a:pt x="338" y="748"/>
                    <a:pt x="339" y="748"/>
                  </a:cubicBezTo>
                  <a:cubicBezTo>
                    <a:pt x="340" y="746"/>
                    <a:pt x="342" y="741"/>
                    <a:pt x="344" y="736"/>
                  </a:cubicBezTo>
                  <a:cubicBezTo>
                    <a:pt x="345" y="735"/>
                    <a:pt x="345" y="733"/>
                    <a:pt x="346" y="730"/>
                  </a:cubicBezTo>
                  <a:cubicBezTo>
                    <a:pt x="346" y="727"/>
                    <a:pt x="347" y="724"/>
                    <a:pt x="348" y="721"/>
                  </a:cubicBezTo>
                  <a:cubicBezTo>
                    <a:pt x="349" y="718"/>
                    <a:pt x="350" y="710"/>
                    <a:pt x="350" y="705"/>
                  </a:cubicBezTo>
                  <a:cubicBezTo>
                    <a:pt x="349" y="704"/>
                    <a:pt x="348" y="705"/>
                    <a:pt x="348" y="705"/>
                  </a:cubicBezTo>
                  <a:cubicBezTo>
                    <a:pt x="348" y="705"/>
                    <a:pt x="348" y="705"/>
                    <a:pt x="348" y="704"/>
                  </a:cubicBezTo>
                  <a:cubicBezTo>
                    <a:pt x="346" y="697"/>
                    <a:pt x="334" y="684"/>
                    <a:pt x="338" y="684"/>
                  </a:cubicBezTo>
                  <a:cubicBezTo>
                    <a:pt x="374" y="685"/>
                    <a:pt x="363" y="675"/>
                    <a:pt x="401" y="675"/>
                  </a:cubicBezTo>
                  <a:cubicBezTo>
                    <a:pt x="434" y="675"/>
                    <a:pt x="451" y="695"/>
                    <a:pt x="459" y="712"/>
                  </a:cubicBezTo>
                  <a:cubicBezTo>
                    <a:pt x="473" y="744"/>
                    <a:pt x="450" y="775"/>
                    <a:pt x="438" y="787"/>
                  </a:cubicBezTo>
                  <a:close/>
                  <a:moveTo>
                    <a:pt x="397" y="406"/>
                  </a:moveTo>
                  <a:cubicBezTo>
                    <a:pt x="380" y="406"/>
                    <a:pt x="366" y="420"/>
                    <a:pt x="366" y="437"/>
                  </a:cubicBezTo>
                  <a:cubicBezTo>
                    <a:pt x="366" y="454"/>
                    <a:pt x="380" y="468"/>
                    <a:pt x="397" y="468"/>
                  </a:cubicBezTo>
                  <a:cubicBezTo>
                    <a:pt x="414" y="468"/>
                    <a:pt x="428" y="454"/>
                    <a:pt x="428" y="437"/>
                  </a:cubicBezTo>
                  <a:cubicBezTo>
                    <a:pt x="428" y="420"/>
                    <a:pt x="414" y="406"/>
                    <a:pt x="397" y="406"/>
                  </a:cubicBezTo>
                  <a:close/>
                  <a:moveTo>
                    <a:pt x="452" y="393"/>
                  </a:moveTo>
                  <a:cubicBezTo>
                    <a:pt x="448" y="396"/>
                    <a:pt x="446" y="401"/>
                    <a:pt x="447" y="405"/>
                  </a:cubicBezTo>
                  <a:cubicBezTo>
                    <a:pt x="448" y="406"/>
                    <a:pt x="448" y="407"/>
                    <a:pt x="448" y="408"/>
                  </a:cubicBezTo>
                  <a:cubicBezTo>
                    <a:pt x="454" y="417"/>
                    <a:pt x="456" y="427"/>
                    <a:pt x="456" y="437"/>
                  </a:cubicBezTo>
                  <a:cubicBezTo>
                    <a:pt x="456" y="443"/>
                    <a:pt x="461" y="447"/>
                    <a:pt x="466" y="447"/>
                  </a:cubicBezTo>
                  <a:cubicBezTo>
                    <a:pt x="472" y="447"/>
                    <a:pt x="476" y="443"/>
                    <a:pt x="476" y="437"/>
                  </a:cubicBezTo>
                  <a:cubicBezTo>
                    <a:pt x="476" y="426"/>
                    <a:pt x="474" y="416"/>
                    <a:pt x="470" y="406"/>
                  </a:cubicBezTo>
                  <a:cubicBezTo>
                    <a:pt x="576" y="345"/>
                    <a:pt x="576" y="345"/>
                    <a:pt x="576" y="345"/>
                  </a:cubicBezTo>
                  <a:cubicBezTo>
                    <a:pt x="598" y="376"/>
                    <a:pt x="633" y="397"/>
                    <a:pt x="675" y="397"/>
                  </a:cubicBezTo>
                  <a:cubicBezTo>
                    <a:pt x="741" y="397"/>
                    <a:pt x="794" y="343"/>
                    <a:pt x="794" y="276"/>
                  </a:cubicBezTo>
                  <a:cubicBezTo>
                    <a:pt x="794" y="210"/>
                    <a:pt x="741" y="155"/>
                    <a:pt x="675" y="155"/>
                  </a:cubicBezTo>
                  <a:cubicBezTo>
                    <a:pt x="608" y="155"/>
                    <a:pt x="555" y="210"/>
                    <a:pt x="555" y="276"/>
                  </a:cubicBezTo>
                  <a:cubicBezTo>
                    <a:pt x="555" y="295"/>
                    <a:pt x="558" y="312"/>
                    <a:pt x="566" y="327"/>
                  </a:cubicBezTo>
                  <a:cubicBezTo>
                    <a:pt x="452" y="393"/>
                    <a:pt x="452" y="393"/>
                    <a:pt x="452" y="393"/>
                  </a:cubicBezTo>
                  <a:close/>
                  <a:moveTo>
                    <a:pt x="612" y="270"/>
                  </a:moveTo>
                  <a:cubicBezTo>
                    <a:pt x="615" y="267"/>
                    <a:pt x="617" y="263"/>
                    <a:pt x="619" y="260"/>
                  </a:cubicBezTo>
                  <a:cubicBezTo>
                    <a:pt x="620" y="258"/>
                    <a:pt x="620" y="250"/>
                    <a:pt x="620" y="245"/>
                  </a:cubicBezTo>
                  <a:cubicBezTo>
                    <a:pt x="619" y="235"/>
                    <a:pt x="623" y="229"/>
                    <a:pt x="625" y="226"/>
                  </a:cubicBezTo>
                  <a:cubicBezTo>
                    <a:pt x="624" y="225"/>
                    <a:pt x="623" y="224"/>
                    <a:pt x="622" y="222"/>
                  </a:cubicBezTo>
                  <a:cubicBezTo>
                    <a:pt x="620" y="215"/>
                    <a:pt x="636" y="197"/>
                    <a:pt x="673" y="197"/>
                  </a:cubicBezTo>
                  <a:cubicBezTo>
                    <a:pt x="706" y="197"/>
                    <a:pt x="725" y="215"/>
                    <a:pt x="733" y="232"/>
                  </a:cubicBezTo>
                  <a:cubicBezTo>
                    <a:pt x="760" y="289"/>
                    <a:pt x="724" y="316"/>
                    <a:pt x="702" y="325"/>
                  </a:cubicBezTo>
                  <a:cubicBezTo>
                    <a:pt x="701" y="343"/>
                    <a:pt x="701" y="343"/>
                    <a:pt x="701" y="343"/>
                  </a:cubicBezTo>
                  <a:cubicBezTo>
                    <a:pt x="701" y="344"/>
                    <a:pt x="700" y="345"/>
                    <a:pt x="699" y="346"/>
                  </a:cubicBezTo>
                  <a:cubicBezTo>
                    <a:pt x="685" y="354"/>
                    <a:pt x="668" y="355"/>
                    <a:pt x="660" y="355"/>
                  </a:cubicBezTo>
                  <a:cubicBezTo>
                    <a:pt x="657" y="355"/>
                    <a:pt x="657" y="355"/>
                    <a:pt x="657" y="355"/>
                  </a:cubicBezTo>
                  <a:cubicBezTo>
                    <a:pt x="655" y="354"/>
                    <a:pt x="654" y="353"/>
                    <a:pt x="654" y="351"/>
                  </a:cubicBezTo>
                  <a:cubicBezTo>
                    <a:pt x="654" y="325"/>
                    <a:pt x="654" y="325"/>
                    <a:pt x="654" y="325"/>
                  </a:cubicBezTo>
                  <a:cubicBezTo>
                    <a:pt x="650" y="325"/>
                    <a:pt x="645" y="325"/>
                    <a:pt x="643" y="325"/>
                  </a:cubicBezTo>
                  <a:cubicBezTo>
                    <a:pt x="629" y="325"/>
                    <a:pt x="626" y="324"/>
                    <a:pt x="624" y="322"/>
                  </a:cubicBezTo>
                  <a:cubicBezTo>
                    <a:pt x="622" y="320"/>
                    <a:pt x="620" y="316"/>
                    <a:pt x="620" y="302"/>
                  </a:cubicBezTo>
                  <a:cubicBezTo>
                    <a:pt x="620" y="291"/>
                    <a:pt x="620" y="291"/>
                    <a:pt x="620" y="291"/>
                  </a:cubicBezTo>
                  <a:cubicBezTo>
                    <a:pt x="612" y="290"/>
                    <a:pt x="607" y="286"/>
                    <a:pt x="606" y="283"/>
                  </a:cubicBezTo>
                  <a:cubicBezTo>
                    <a:pt x="605" y="280"/>
                    <a:pt x="609" y="274"/>
                    <a:pt x="612" y="270"/>
                  </a:cubicBezTo>
                  <a:close/>
                  <a:moveTo>
                    <a:pt x="119" y="397"/>
                  </a:moveTo>
                  <a:cubicBezTo>
                    <a:pt x="161" y="397"/>
                    <a:pt x="196" y="376"/>
                    <a:pt x="218" y="345"/>
                  </a:cubicBezTo>
                  <a:cubicBezTo>
                    <a:pt x="332" y="411"/>
                    <a:pt x="332" y="411"/>
                    <a:pt x="332" y="411"/>
                  </a:cubicBezTo>
                  <a:cubicBezTo>
                    <a:pt x="333" y="412"/>
                    <a:pt x="335" y="413"/>
                    <a:pt x="337" y="413"/>
                  </a:cubicBezTo>
                  <a:cubicBezTo>
                    <a:pt x="340" y="413"/>
                    <a:pt x="344" y="411"/>
                    <a:pt x="346" y="408"/>
                  </a:cubicBezTo>
                  <a:cubicBezTo>
                    <a:pt x="346" y="407"/>
                    <a:pt x="346" y="407"/>
                    <a:pt x="346" y="407"/>
                  </a:cubicBezTo>
                  <a:cubicBezTo>
                    <a:pt x="351" y="398"/>
                    <a:pt x="359" y="390"/>
                    <a:pt x="368" y="385"/>
                  </a:cubicBezTo>
                  <a:cubicBezTo>
                    <a:pt x="373" y="382"/>
                    <a:pt x="375" y="376"/>
                    <a:pt x="372" y="371"/>
                  </a:cubicBezTo>
                  <a:cubicBezTo>
                    <a:pt x="369" y="366"/>
                    <a:pt x="363" y="365"/>
                    <a:pt x="358" y="368"/>
                  </a:cubicBezTo>
                  <a:cubicBezTo>
                    <a:pt x="349" y="373"/>
                    <a:pt x="340" y="380"/>
                    <a:pt x="334" y="389"/>
                  </a:cubicBezTo>
                  <a:cubicBezTo>
                    <a:pt x="228" y="327"/>
                    <a:pt x="228" y="327"/>
                    <a:pt x="228" y="327"/>
                  </a:cubicBezTo>
                  <a:cubicBezTo>
                    <a:pt x="236" y="312"/>
                    <a:pt x="239" y="295"/>
                    <a:pt x="239" y="276"/>
                  </a:cubicBezTo>
                  <a:cubicBezTo>
                    <a:pt x="239" y="210"/>
                    <a:pt x="186" y="155"/>
                    <a:pt x="119" y="155"/>
                  </a:cubicBezTo>
                  <a:cubicBezTo>
                    <a:pt x="53" y="155"/>
                    <a:pt x="0" y="210"/>
                    <a:pt x="0" y="276"/>
                  </a:cubicBezTo>
                  <a:cubicBezTo>
                    <a:pt x="0" y="343"/>
                    <a:pt x="53" y="397"/>
                    <a:pt x="119" y="397"/>
                  </a:cubicBezTo>
                  <a:close/>
                  <a:moveTo>
                    <a:pt x="58" y="233"/>
                  </a:moveTo>
                  <a:cubicBezTo>
                    <a:pt x="66" y="216"/>
                    <a:pt x="82" y="196"/>
                    <a:pt x="116" y="196"/>
                  </a:cubicBezTo>
                  <a:cubicBezTo>
                    <a:pt x="154" y="196"/>
                    <a:pt x="143" y="206"/>
                    <a:pt x="178" y="205"/>
                  </a:cubicBezTo>
                  <a:cubicBezTo>
                    <a:pt x="182" y="205"/>
                    <a:pt x="171" y="218"/>
                    <a:pt x="169" y="225"/>
                  </a:cubicBezTo>
                  <a:cubicBezTo>
                    <a:pt x="168" y="226"/>
                    <a:pt x="168" y="226"/>
                    <a:pt x="168" y="226"/>
                  </a:cubicBezTo>
                  <a:cubicBezTo>
                    <a:pt x="168" y="226"/>
                    <a:pt x="167" y="225"/>
                    <a:pt x="167" y="226"/>
                  </a:cubicBezTo>
                  <a:cubicBezTo>
                    <a:pt x="167" y="231"/>
                    <a:pt x="168" y="239"/>
                    <a:pt x="168" y="242"/>
                  </a:cubicBezTo>
                  <a:cubicBezTo>
                    <a:pt x="169" y="245"/>
                    <a:pt x="170" y="248"/>
                    <a:pt x="171" y="251"/>
                  </a:cubicBezTo>
                  <a:cubicBezTo>
                    <a:pt x="171" y="253"/>
                    <a:pt x="172" y="256"/>
                    <a:pt x="172" y="257"/>
                  </a:cubicBezTo>
                  <a:cubicBezTo>
                    <a:pt x="174" y="262"/>
                    <a:pt x="176" y="267"/>
                    <a:pt x="178" y="269"/>
                  </a:cubicBezTo>
                  <a:cubicBezTo>
                    <a:pt x="179" y="269"/>
                    <a:pt x="179" y="270"/>
                    <a:pt x="179" y="270"/>
                  </a:cubicBezTo>
                  <a:cubicBezTo>
                    <a:pt x="183" y="274"/>
                    <a:pt x="187" y="279"/>
                    <a:pt x="186" y="283"/>
                  </a:cubicBezTo>
                  <a:cubicBezTo>
                    <a:pt x="185" y="285"/>
                    <a:pt x="182" y="290"/>
                    <a:pt x="172" y="291"/>
                  </a:cubicBezTo>
                  <a:cubicBezTo>
                    <a:pt x="172" y="296"/>
                    <a:pt x="173" y="304"/>
                    <a:pt x="173" y="310"/>
                  </a:cubicBezTo>
                  <a:cubicBezTo>
                    <a:pt x="173" y="311"/>
                    <a:pt x="173" y="311"/>
                    <a:pt x="173" y="311"/>
                  </a:cubicBezTo>
                  <a:cubicBezTo>
                    <a:pt x="172" y="320"/>
                    <a:pt x="172" y="325"/>
                    <a:pt x="168" y="327"/>
                  </a:cubicBezTo>
                  <a:cubicBezTo>
                    <a:pt x="165" y="328"/>
                    <a:pt x="154" y="330"/>
                    <a:pt x="139" y="329"/>
                  </a:cubicBezTo>
                  <a:cubicBezTo>
                    <a:pt x="139" y="353"/>
                    <a:pt x="139" y="353"/>
                    <a:pt x="139" y="353"/>
                  </a:cubicBezTo>
                  <a:cubicBezTo>
                    <a:pt x="139" y="355"/>
                    <a:pt x="138" y="356"/>
                    <a:pt x="136" y="356"/>
                  </a:cubicBezTo>
                  <a:cubicBezTo>
                    <a:pt x="134" y="356"/>
                    <a:pt x="104" y="356"/>
                    <a:pt x="80" y="346"/>
                  </a:cubicBezTo>
                  <a:cubicBezTo>
                    <a:pt x="79" y="346"/>
                    <a:pt x="78" y="345"/>
                    <a:pt x="78" y="343"/>
                  </a:cubicBezTo>
                  <a:cubicBezTo>
                    <a:pt x="78" y="308"/>
                    <a:pt x="78" y="308"/>
                    <a:pt x="78" y="308"/>
                  </a:cubicBezTo>
                  <a:cubicBezTo>
                    <a:pt x="66" y="296"/>
                    <a:pt x="43" y="265"/>
                    <a:pt x="58" y="233"/>
                  </a:cubicBezTo>
                  <a:close/>
                  <a:moveTo>
                    <a:pt x="387" y="239"/>
                  </a:moveTo>
                  <a:cubicBezTo>
                    <a:pt x="387" y="366"/>
                    <a:pt x="387" y="366"/>
                    <a:pt x="387" y="366"/>
                  </a:cubicBezTo>
                  <a:cubicBezTo>
                    <a:pt x="387" y="372"/>
                    <a:pt x="391" y="376"/>
                    <a:pt x="397" y="376"/>
                  </a:cubicBezTo>
                  <a:cubicBezTo>
                    <a:pt x="406" y="376"/>
                    <a:pt x="415" y="378"/>
                    <a:pt x="423" y="382"/>
                  </a:cubicBezTo>
                  <a:cubicBezTo>
                    <a:pt x="424" y="383"/>
                    <a:pt x="426" y="383"/>
                    <a:pt x="428" y="383"/>
                  </a:cubicBezTo>
                  <a:cubicBezTo>
                    <a:pt x="431" y="383"/>
                    <a:pt x="435" y="381"/>
                    <a:pt x="437" y="378"/>
                  </a:cubicBezTo>
                  <a:cubicBezTo>
                    <a:pt x="439" y="373"/>
                    <a:pt x="437" y="367"/>
                    <a:pt x="432" y="364"/>
                  </a:cubicBezTo>
                  <a:cubicBezTo>
                    <a:pt x="424" y="360"/>
                    <a:pt x="416" y="357"/>
                    <a:pt x="407" y="356"/>
                  </a:cubicBezTo>
                  <a:cubicBezTo>
                    <a:pt x="407" y="239"/>
                    <a:pt x="407" y="239"/>
                    <a:pt x="407" y="239"/>
                  </a:cubicBezTo>
                  <a:cubicBezTo>
                    <a:pt x="469" y="234"/>
                    <a:pt x="517" y="183"/>
                    <a:pt x="517" y="120"/>
                  </a:cubicBezTo>
                  <a:cubicBezTo>
                    <a:pt x="517" y="53"/>
                    <a:pt x="463" y="0"/>
                    <a:pt x="397" y="0"/>
                  </a:cubicBezTo>
                  <a:cubicBezTo>
                    <a:pt x="331" y="0"/>
                    <a:pt x="277" y="53"/>
                    <a:pt x="277" y="120"/>
                  </a:cubicBezTo>
                  <a:cubicBezTo>
                    <a:pt x="277" y="183"/>
                    <a:pt x="325" y="234"/>
                    <a:pt x="387" y="239"/>
                  </a:cubicBezTo>
                  <a:close/>
                  <a:moveTo>
                    <a:pt x="335" y="77"/>
                  </a:moveTo>
                  <a:cubicBezTo>
                    <a:pt x="343" y="60"/>
                    <a:pt x="360" y="40"/>
                    <a:pt x="393" y="40"/>
                  </a:cubicBezTo>
                  <a:cubicBezTo>
                    <a:pt x="431" y="40"/>
                    <a:pt x="420" y="50"/>
                    <a:pt x="456" y="49"/>
                  </a:cubicBezTo>
                  <a:cubicBezTo>
                    <a:pt x="460" y="49"/>
                    <a:pt x="448" y="62"/>
                    <a:pt x="446" y="70"/>
                  </a:cubicBezTo>
                  <a:cubicBezTo>
                    <a:pt x="446" y="70"/>
                    <a:pt x="446" y="70"/>
                    <a:pt x="446" y="70"/>
                  </a:cubicBezTo>
                  <a:cubicBezTo>
                    <a:pt x="446" y="70"/>
                    <a:pt x="445" y="70"/>
                    <a:pt x="444" y="70"/>
                  </a:cubicBezTo>
                  <a:cubicBezTo>
                    <a:pt x="444" y="74"/>
                    <a:pt x="445" y="83"/>
                    <a:pt x="446" y="86"/>
                  </a:cubicBezTo>
                  <a:cubicBezTo>
                    <a:pt x="447" y="88"/>
                    <a:pt x="448" y="92"/>
                    <a:pt x="448" y="95"/>
                  </a:cubicBezTo>
                  <a:cubicBezTo>
                    <a:pt x="449" y="97"/>
                    <a:pt x="449" y="100"/>
                    <a:pt x="450" y="101"/>
                  </a:cubicBezTo>
                  <a:cubicBezTo>
                    <a:pt x="452" y="106"/>
                    <a:pt x="454" y="110"/>
                    <a:pt x="455" y="113"/>
                  </a:cubicBezTo>
                  <a:cubicBezTo>
                    <a:pt x="456" y="113"/>
                    <a:pt x="456" y="114"/>
                    <a:pt x="457" y="114"/>
                  </a:cubicBezTo>
                  <a:cubicBezTo>
                    <a:pt x="461" y="118"/>
                    <a:pt x="465" y="122"/>
                    <a:pt x="463" y="126"/>
                  </a:cubicBezTo>
                  <a:cubicBezTo>
                    <a:pt x="463" y="128"/>
                    <a:pt x="460" y="134"/>
                    <a:pt x="449" y="134"/>
                  </a:cubicBezTo>
                  <a:cubicBezTo>
                    <a:pt x="450" y="139"/>
                    <a:pt x="450" y="148"/>
                    <a:pt x="450" y="153"/>
                  </a:cubicBezTo>
                  <a:cubicBezTo>
                    <a:pt x="450" y="154"/>
                    <a:pt x="450" y="154"/>
                    <a:pt x="450" y="154"/>
                  </a:cubicBezTo>
                  <a:cubicBezTo>
                    <a:pt x="449" y="163"/>
                    <a:pt x="449" y="168"/>
                    <a:pt x="445" y="170"/>
                  </a:cubicBezTo>
                  <a:cubicBezTo>
                    <a:pt x="442" y="171"/>
                    <a:pt x="431" y="173"/>
                    <a:pt x="417" y="171"/>
                  </a:cubicBezTo>
                  <a:cubicBezTo>
                    <a:pt x="417" y="196"/>
                    <a:pt x="417" y="196"/>
                    <a:pt x="417" y="196"/>
                  </a:cubicBezTo>
                  <a:cubicBezTo>
                    <a:pt x="417" y="198"/>
                    <a:pt x="416" y="199"/>
                    <a:pt x="413" y="199"/>
                  </a:cubicBezTo>
                  <a:cubicBezTo>
                    <a:pt x="411" y="199"/>
                    <a:pt x="381" y="199"/>
                    <a:pt x="358" y="190"/>
                  </a:cubicBezTo>
                  <a:cubicBezTo>
                    <a:pt x="357" y="189"/>
                    <a:pt x="356" y="188"/>
                    <a:pt x="356" y="186"/>
                  </a:cubicBezTo>
                  <a:cubicBezTo>
                    <a:pt x="356" y="151"/>
                    <a:pt x="356" y="151"/>
                    <a:pt x="356" y="151"/>
                  </a:cubicBezTo>
                  <a:cubicBezTo>
                    <a:pt x="344" y="139"/>
                    <a:pt x="321" y="108"/>
                    <a:pt x="335" y="77"/>
                  </a:cubicBezTo>
                  <a:close/>
                  <a:moveTo>
                    <a:pt x="342" y="479"/>
                  </a:moveTo>
                  <a:cubicBezTo>
                    <a:pt x="346" y="476"/>
                    <a:pt x="348" y="471"/>
                    <a:pt x="346" y="466"/>
                  </a:cubicBezTo>
                  <a:cubicBezTo>
                    <a:pt x="346" y="465"/>
                    <a:pt x="346" y="465"/>
                    <a:pt x="346" y="464"/>
                  </a:cubicBezTo>
                  <a:cubicBezTo>
                    <a:pt x="340" y="455"/>
                    <a:pt x="338" y="445"/>
                    <a:pt x="338" y="435"/>
                  </a:cubicBezTo>
                  <a:cubicBezTo>
                    <a:pt x="338" y="430"/>
                    <a:pt x="333" y="425"/>
                    <a:pt x="328" y="425"/>
                  </a:cubicBezTo>
                  <a:cubicBezTo>
                    <a:pt x="322" y="425"/>
                    <a:pt x="318" y="430"/>
                    <a:pt x="318" y="435"/>
                  </a:cubicBezTo>
                  <a:cubicBezTo>
                    <a:pt x="318" y="446"/>
                    <a:pt x="320" y="456"/>
                    <a:pt x="324" y="466"/>
                  </a:cubicBezTo>
                  <a:cubicBezTo>
                    <a:pt x="218" y="526"/>
                    <a:pt x="218" y="526"/>
                    <a:pt x="218" y="526"/>
                  </a:cubicBezTo>
                  <a:cubicBezTo>
                    <a:pt x="196" y="495"/>
                    <a:pt x="161" y="475"/>
                    <a:pt x="119" y="475"/>
                  </a:cubicBezTo>
                  <a:cubicBezTo>
                    <a:pt x="53" y="475"/>
                    <a:pt x="0" y="528"/>
                    <a:pt x="0" y="594"/>
                  </a:cubicBezTo>
                  <a:cubicBezTo>
                    <a:pt x="0" y="661"/>
                    <a:pt x="53" y="714"/>
                    <a:pt x="119" y="714"/>
                  </a:cubicBezTo>
                  <a:cubicBezTo>
                    <a:pt x="186" y="714"/>
                    <a:pt x="239" y="661"/>
                    <a:pt x="239" y="594"/>
                  </a:cubicBezTo>
                  <a:cubicBezTo>
                    <a:pt x="239" y="576"/>
                    <a:pt x="236" y="559"/>
                    <a:pt x="228" y="544"/>
                  </a:cubicBezTo>
                  <a:cubicBezTo>
                    <a:pt x="342" y="479"/>
                    <a:pt x="342" y="479"/>
                    <a:pt x="342" y="479"/>
                  </a:cubicBezTo>
                  <a:close/>
                  <a:moveTo>
                    <a:pt x="188" y="602"/>
                  </a:moveTo>
                  <a:cubicBezTo>
                    <a:pt x="187" y="605"/>
                    <a:pt x="182" y="609"/>
                    <a:pt x="174" y="609"/>
                  </a:cubicBezTo>
                  <a:cubicBezTo>
                    <a:pt x="174" y="619"/>
                    <a:pt x="174" y="619"/>
                    <a:pt x="174" y="619"/>
                  </a:cubicBezTo>
                  <a:cubicBezTo>
                    <a:pt x="174" y="634"/>
                    <a:pt x="172" y="638"/>
                    <a:pt x="170" y="640"/>
                  </a:cubicBezTo>
                  <a:cubicBezTo>
                    <a:pt x="168" y="641"/>
                    <a:pt x="165" y="644"/>
                    <a:pt x="151" y="643"/>
                  </a:cubicBezTo>
                  <a:cubicBezTo>
                    <a:pt x="149" y="643"/>
                    <a:pt x="144" y="643"/>
                    <a:pt x="140" y="643"/>
                  </a:cubicBezTo>
                  <a:cubicBezTo>
                    <a:pt x="140" y="669"/>
                    <a:pt x="140" y="669"/>
                    <a:pt x="140" y="669"/>
                  </a:cubicBezTo>
                  <a:cubicBezTo>
                    <a:pt x="140" y="671"/>
                    <a:pt x="139" y="672"/>
                    <a:pt x="137" y="672"/>
                  </a:cubicBezTo>
                  <a:cubicBezTo>
                    <a:pt x="137" y="672"/>
                    <a:pt x="136" y="673"/>
                    <a:pt x="134" y="673"/>
                  </a:cubicBezTo>
                  <a:cubicBezTo>
                    <a:pt x="126" y="673"/>
                    <a:pt x="109" y="671"/>
                    <a:pt x="95" y="663"/>
                  </a:cubicBezTo>
                  <a:cubicBezTo>
                    <a:pt x="94" y="663"/>
                    <a:pt x="93" y="662"/>
                    <a:pt x="93" y="660"/>
                  </a:cubicBezTo>
                  <a:cubicBezTo>
                    <a:pt x="92" y="643"/>
                    <a:pt x="92" y="643"/>
                    <a:pt x="92" y="643"/>
                  </a:cubicBezTo>
                  <a:cubicBezTo>
                    <a:pt x="70" y="634"/>
                    <a:pt x="34" y="607"/>
                    <a:pt x="61" y="551"/>
                  </a:cubicBezTo>
                  <a:cubicBezTo>
                    <a:pt x="69" y="534"/>
                    <a:pt x="88" y="517"/>
                    <a:pt x="121" y="517"/>
                  </a:cubicBezTo>
                  <a:cubicBezTo>
                    <a:pt x="158" y="517"/>
                    <a:pt x="174" y="534"/>
                    <a:pt x="172" y="541"/>
                  </a:cubicBezTo>
                  <a:cubicBezTo>
                    <a:pt x="171" y="543"/>
                    <a:pt x="170" y="544"/>
                    <a:pt x="169" y="545"/>
                  </a:cubicBezTo>
                  <a:cubicBezTo>
                    <a:pt x="171" y="548"/>
                    <a:pt x="175" y="554"/>
                    <a:pt x="174" y="563"/>
                  </a:cubicBezTo>
                  <a:cubicBezTo>
                    <a:pt x="174" y="568"/>
                    <a:pt x="174" y="577"/>
                    <a:pt x="175" y="578"/>
                  </a:cubicBezTo>
                  <a:cubicBezTo>
                    <a:pt x="177" y="581"/>
                    <a:pt x="179" y="586"/>
                    <a:pt x="182" y="589"/>
                  </a:cubicBezTo>
                  <a:cubicBezTo>
                    <a:pt x="185" y="592"/>
                    <a:pt x="189" y="598"/>
                    <a:pt x="188" y="602"/>
                  </a:cubicBezTo>
                  <a:close/>
                  <a:moveTo>
                    <a:pt x="675" y="475"/>
                  </a:moveTo>
                  <a:cubicBezTo>
                    <a:pt x="633" y="475"/>
                    <a:pt x="598" y="495"/>
                    <a:pt x="576" y="526"/>
                  </a:cubicBezTo>
                  <a:cubicBezTo>
                    <a:pt x="462" y="461"/>
                    <a:pt x="462" y="461"/>
                    <a:pt x="462" y="461"/>
                  </a:cubicBezTo>
                  <a:cubicBezTo>
                    <a:pt x="457" y="458"/>
                    <a:pt x="451" y="460"/>
                    <a:pt x="448" y="464"/>
                  </a:cubicBezTo>
                  <a:cubicBezTo>
                    <a:pt x="448" y="465"/>
                    <a:pt x="448" y="465"/>
                    <a:pt x="448" y="465"/>
                  </a:cubicBezTo>
                  <a:cubicBezTo>
                    <a:pt x="443" y="473"/>
                    <a:pt x="436" y="480"/>
                    <a:pt x="429" y="485"/>
                  </a:cubicBezTo>
                  <a:cubicBezTo>
                    <a:pt x="423" y="488"/>
                    <a:pt x="422" y="494"/>
                    <a:pt x="425" y="499"/>
                  </a:cubicBezTo>
                  <a:cubicBezTo>
                    <a:pt x="428" y="504"/>
                    <a:pt x="435" y="506"/>
                    <a:pt x="439" y="502"/>
                  </a:cubicBezTo>
                  <a:cubicBezTo>
                    <a:pt x="447" y="497"/>
                    <a:pt x="454" y="491"/>
                    <a:pt x="460" y="483"/>
                  </a:cubicBezTo>
                  <a:cubicBezTo>
                    <a:pt x="566" y="544"/>
                    <a:pt x="566" y="544"/>
                    <a:pt x="566" y="544"/>
                  </a:cubicBezTo>
                  <a:cubicBezTo>
                    <a:pt x="558" y="559"/>
                    <a:pt x="555" y="576"/>
                    <a:pt x="555" y="594"/>
                  </a:cubicBezTo>
                  <a:cubicBezTo>
                    <a:pt x="555" y="661"/>
                    <a:pt x="608" y="714"/>
                    <a:pt x="675" y="714"/>
                  </a:cubicBezTo>
                  <a:cubicBezTo>
                    <a:pt x="741" y="714"/>
                    <a:pt x="794" y="661"/>
                    <a:pt x="794" y="594"/>
                  </a:cubicBezTo>
                  <a:cubicBezTo>
                    <a:pt x="794" y="528"/>
                    <a:pt x="741" y="475"/>
                    <a:pt x="675" y="475"/>
                  </a:cubicBezTo>
                  <a:close/>
                  <a:moveTo>
                    <a:pt x="716" y="626"/>
                  </a:moveTo>
                  <a:cubicBezTo>
                    <a:pt x="716" y="661"/>
                    <a:pt x="716" y="661"/>
                    <a:pt x="716" y="661"/>
                  </a:cubicBezTo>
                  <a:cubicBezTo>
                    <a:pt x="716" y="663"/>
                    <a:pt x="715" y="664"/>
                    <a:pt x="714" y="664"/>
                  </a:cubicBezTo>
                  <a:cubicBezTo>
                    <a:pt x="690" y="674"/>
                    <a:pt x="660" y="674"/>
                    <a:pt x="658" y="674"/>
                  </a:cubicBezTo>
                  <a:cubicBezTo>
                    <a:pt x="656" y="674"/>
                    <a:pt x="655" y="673"/>
                    <a:pt x="655" y="671"/>
                  </a:cubicBezTo>
                  <a:cubicBezTo>
                    <a:pt x="655" y="646"/>
                    <a:pt x="655" y="646"/>
                    <a:pt x="655" y="646"/>
                  </a:cubicBezTo>
                  <a:cubicBezTo>
                    <a:pt x="640" y="648"/>
                    <a:pt x="629" y="646"/>
                    <a:pt x="626" y="645"/>
                  </a:cubicBezTo>
                  <a:cubicBezTo>
                    <a:pt x="622" y="643"/>
                    <a:pt x="622" y="638"/>
                    <a:pt x="621" y="629"/>
                  </a:cubicBezTo>
                  <a:cubicBezTo>
                    <a:pt x="621" y="628"/>
                    <a:pt x="621" y="628"/>
                    <a:pt x="621" y="628"/>
                  </a:cubicBezTo>
                  <a:cubicBezTo>
                    <a:pt x="621" y="623"/>
                    <a:pt x="622" y="614"/>
                    <a:pt x="622" y="609"/>
                  </a:cubicBezTo>
                  <a:cubicBezTo>
                    <a:pt x="612" y="609"/>
                    <a:pt x="609" y="603"/>
                    <a:pt x="608" y="601"/>
                  </a:cubicBezTo>
                  <a:cubicBezTo>
                    <a:pt x="607" y="597"/>
                    <a:pt x="611" y="593"/>
                    <a:pt x="615" y="589"/>
                  </a:cubicBezTo>
                  <a:cubicBezTo>
                    <a:pt x="615" y="588"/>
                    <a:pt x="615" y="588"/>
                    <a:pt x="616" y="588"/>
                  </a:cubicBezTo>
                  <a:cubicBezTo>
                    <a:pt x="618" y="585"/>
                    <a:pt x="620" y="581"/>
                    <a:pt x="622" y="576"/>
                  </a:cubicBezTo>
                  <a:cubicBezTo>
                    <a:pt x="622" y="575"/>
                    <a:pt x="623" y="572"/>
                    <a:pt x="623" y="570"/>
                  </a:cubicBezTo>
                  <a:cubicBezTo>
                    <a:pt x="624" y="567"/>
                    <a:pt x="625" y="563"/>
                    <a:pt x="626" y="561"/>
                  </a:cubicBezTo>
                  <a:cubicBezTo>
                    <a:pt x="626" y="558"/>
                    <a:pt x="627" y="549"/>
                    <a:pt x="627" y="544"/>
                  </a:cubicBezTo>
                  <a:cubicBezTo>
                    <a:pt x="627" y="544"/>
                    <a:pt x="626" y="545"/>
                    <a:pt x="626" y="545"/>
                  </a:cubicBezTo>
                  <a:cubicBezTo>
                    <a:pt x="626" y="545"/>
                    <a:pt x="626" y="545"/>
                    <a:pt x="625" y="544"/>
                  </a:cubicBezTo>
                  <a:cubicBezTo>
                    <a:pt x="623" y="537"/>
                    <a:pt x="612" y="524"/>
                    <a:pt x="616" y="524"/>
                  </a:cubicBezTo>
                  <a:cubicBezTo>
                    <a:pt x="651" y="525"/>
                    <a:pt x="640" y="515"/>
                    <a:pt x="678" y="515"/>
                  </a:cubicBezTo>
                  <a:cubicBezTo>
                    <a:pt x="712" y="515"/>
                    <a:pt x="728" y="535"/>
                    <a:pt x="736" y="552"/>
                  </a:cubicBezTo>
                  <a:cubicBezTo>
                    <a:pt x="751" y="583"/>
                    <a:pt x="728" y="614"/>
                    <a:pt x="716" y="6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a:extLst>
              <a:ext uri="{FF2B5EF4-FFF2-40B4-BE49-F238E27FC236}">
                <a16:creationId xmlns:a16="http://schemas.microsoft.com/office/drawing/2014/main" id="{B058504A-8B1E-7466-14AA-DA19A7D70F58}"/>
              </a:ext>
            </a:extLst>
          </p:cNvPr>
          <p:cNvGrpSpPr/>
          <p:nvPr/>
        </p:nvGrpSpPr>
        <p:grpSpPr>
          <a:xfrm>
            <a:off x="4190128" y="1288291"/>
            <a:ext cx="802294" cy="802294"/>
            <a:chOff x="5026620" y="2895074"/>
            <a:chExt cx="1067853" cy="1067853"/>
          </a:xfrm>
        </p:grpSpPr>
        <p:grpSp>
          <p:nvGrpSpPr>
            <p:cNvPr id="46" name="bcgBugs_Gender-neutral people ">
              <a:extLst>
                <a:ext uri="{FF2B5EF4-FFF2-40B4-BE49-F238E27FC236}">
                  <a16:creationId xmlns:a16="http://schemas.microsoft.com/office/drawing/2014/main" id="{B4F7544F-5822-DDAF-7F86-83AFCBE42618}"/>
                </a:ext>
              </a:extLst>
            </p:cNvPr>
            <p:cNvGrpSpPr>
              <a:grpSpLocks noChangeAspect="1"/>
            </p:cNvGrpSpPr>
            <p:nvPr/>
          </p:nvGrpSpPr>
          <p:grpSpPr bwMode="auto">
            <a:xfrm>
              <a:off x="5164058" y="3032109"/>
              <a:ext cx="793784" cy="793784"/>
              <a:chOff x="2652" y="972"/>
              <a:chExt cx="2376" cy="2376"/>
            </a:xfrm>
          </p:grpSpPr>
          <p:sp>
            <p:nvSpPr>
              <p:cNvPr id="54" name="AutoShape 7">
                <a:extLst>
                  <a:ext uri="{FF2B5EF4-FFF2-40B4-BE49-F238E27FC236}">
                    <a16:creationId xmlns:a16="http://schemas.microsoft.com/office/drawing/2014/main" id="{B483854A-E2B5-F443-1F66-F31FDD47E98D}"/>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9">
                <a:extLst>
                  <a:ext uri="{FF2B5EF4-FFF2-40B4-BE49-F238E27FC236}">
                    <a16:creationId xmlns:a16="http://schemas.microsoft.com/office/drawing/2014/main" id="{F0D53C6E-5CCF-6B09-F5BC-F7D311A8C6EB}"/>
                  </a:ext>
                </a:extLst>
              </p:cNvPr>
              <p:cNvSpPr>
                <a:spLocks noEditPoints="1"/>
              </p:cNvSpPr>
              <p:nvPr/>
            </p:nvSpPr>
            <p:spPr bwMode="auto">
              <a:xfrm>
                <a:off x="2790" y="1391"/>
                <a:ext cx="2105" cy="1524"/>
              </a:xfrm>
              <a:custGeom>
                <a:avLst/>
                <a:gdLst>
                  <a:gd name="T0" fmla="*/ 177 w 885"/>
                  <a:gd name="T1" fmla="*/ 622 h 641"/>
                  <a:gd name="T2" fmla="*/ 173 w 885"/>
                  <a:gd name="T3" fmla="*/ 527 h 641"/>
                  <a:gd name="T4" fmla="*/ 120 w 885"/>
                  <a:gd name="T5" fmla="*/ 528 h 641"/>
                  <a:gd name="T6" fmla="*/ 75 w 885"/>
                  <a:gd name="T7" fmla="*/ 523 h 641"/>
                  <a:gd name="T8" fmla="*/ 68 w 885"/>
                  <a:gd name="T9" fmla="*/ 420 h 641"/>
                  <a:gd name="T10" fmla="*/ 24 w 885"/>
                  <a:gd name="T11" fmla="*/ 409 h 641"/>
                  <a:gd name="T12" fmla="*/ 63 w 885"/>
                  <a:gd name="T13" fmla="*/ 349 h 641"/>
                  <a:gd name="T14" fmla="*/ 67 w 885"/>
                  <a:gd name="T15" fmla="*/ 292 h 641"/>
                  <a:gd name="T16" fmla="*/ 51 w 885"/>
                  <a:gd name="T17" fmla="*/ 271 h 641"/>
                  <a:gd name="T18" fmla="*/ 47 w 885"/>
                  <a:gd name="T19" fmla="*/ 310 h 641"/>
                  <a:gd name="T20" fmla="*/ 23 w 885"/>
                  <a:gd name="T21" fmla="*/ 376 h 641"/>
                  <a:gd name="T22" fmla="*/ 51 w 885"/>
                  <a:gd name="T23" fmla="*/ 437 h 641"/>
                  <a:gd name="T24" fmla="*/ 61 w 885"/>
                  <a:gd name="T25" fmla="*/ 536 h 641"/>
                  <a:gd name="T26" fmla="*/ 158 w 885"/>
                  <a:gd name="T27" fmla="*/ 546 h 641"/>
                  <a:gd name="T28" fmla="*/ 167 w 885"/>
                  <a:gd name="T29" fmla="*/ 641 h 641"/>
                  <a:gd name="T30" fmla="*/ 324 w 885"/>
                  <a:gd name="T31" fmla="*/ 611 h 641"/>
                  <a:gd name="T32" fmla="*/ 328 w 885"/>
                  <a:gd name="T33" fmla="*/ 510 h 641"/>
                  <a:gd name="T34" fmla="*/ 309 w 885"/>
                  <a:gd name="T35" fmla="*/ 598 h 641"/>
                  <a:gd name="T36" fmla="*/ 517 w 885"/>
                  <a:gd name="T37" fmla="*/ 289 h 641"/>
                  <a:gd name="T38" fmla="*/ 661 w 885"/>
                  <a:gd name="T39" fmla="*/ 265 h 641"/>
                  <a:gd name="T40" fmla="*/ 804 w 885"/>
                  <a:gd name="T41" fmla="*/ 166 h 641"/>
                  <a:gd name="T42" fmla="*/ 826 w 885"/>
                  <a:gd name="T43" fmla="*/ 113 h 641"/>
                  <a:gd name="T44" fmla="*/ 393 w 885"/>
                  <a:gd name="T45" fmla="*/ 126 h 641"/>
                  <a:gd name="T46" fmla="*/ 350 w 885"/>
                  <a:gd name="T47" fmla="*/ 260 h 641"/>
                  <a:gd name="T48" fmla="*/ 202 w 885"/>
                  <a:gd name="T49" fmla="*/ 133 h 641"/>
                  <a:gd name="T50" fmla="*/ 47 w 885"/>
                  <a:gd name="T51" fmla="*/ 220 h 641"/>
                  <a:gd name="T52" fmla="*/ 177 w 885"/>
                  <a:gd name="T53" fmla="*/ 343 h 641"/>
                  <a:gd name="T54" fmla="*/ 158 w 885"/>
                  <a:gd name="T55" fmla="*/ 318 h 641"/>
                  <a:gd name="T56" fmla="*/ 299 w 885"/>
                  <a:gd name="T57" fmla="*/ 505 h 641"/>
                  <a:gd name="T58" fmla="*/ 395 w 885"/>
                  <a:gd name="T59" fmla="*/ 379 h 641"/>
                  <a:gd name="T60" fmla="*/ 856 w 885"/>
                  <a:gd name="T61" fmla="*/ 315 h 641"/>
                  <a:gd name="T62" fmla="*/ 826 w 885"/>
                  <a:gd name="T63" fmla="*/ 232 h 641"/>
                  <a:gd name="T64" fmla="*/ 820 w 885"/>
                  <a:gd name="T65" fmla="*/ 178 h 641"/>
                  <a:gd name="T66" fmla="*/ 805 w 885"/>
                  <a:gd name="T67" fmla="*/ 209 h 641"/>
                  <a:gd name="T68" fmla="*/ 811 w 885"/>
                  <a:gd name="T69" fmla="*/ 279 h 641"/>
                  <a:gd name="T70" fmla="*/ 861 w 885"/>
                  <a:gd name="T71" fmla="*/ 355 h 641"/>
                  <a:gd name="T72" fmla="*/ 804 w 885"/>
                  <a:gd name="T73" fmla="*/ 370 h 641"/>
                  <a:gd name="T74" fmla="*/ 803 w 885"/>
                  <a:gd name="T75" fmla="*/ 434 h 641"/>
                  <a:gd name="T76" fmla="*/ 737 w 885"/>
                  <a:gd name="T77" fmla="*/ 505 h 641"/>
                  <a:gd name="T78" fmla="*/ 673 w 885"/>
                  <a:gd name="T79" fmla="*/ 503 h 641"/>
                  <a:gd name="T80" fmla="*/ 668 w 885"/>
                  <a:gd name="T81" fmla="*/ 622 h 641"/>
                  <a:gd name="T82" fmla="*/ 498 w 885"/>
                  <a:gd name="T83" fmla="*/ 489 h 641"/>
                  <a:gd name="T84" fmla="*/ 479 w 885"/>
                  <a:gd name="T85" fmla="*/ 596 h 641"/>
                  <a:gd name="T86" fmla="*/ 661 w 885"/>
                  <a:gd name="T87" fmla="*/ 641 h 641"/>
                  <a:gd name="T88" fmla="*/ 688 w 885"/>
                  <a:gd name="T89" fmla="*/ 632 h 641"/>
                  <a:gd name="T90" fmla="*/ 735 w 885"/>
                  <a:gd name="T91" fmla="*/ 524 h 641"/>
                  <a:gd name="T92" fmla="*/ 822 w 885"/>
                  <a:gd name="T93" fmla="*/ 434 h 641"/>
                  <a:gd name="T94" fmla="*/ 823 w 885"/>
                  <a:gd name="T95" fmla="*/ 387 h 641"/>
                  <a:gd name="T96" fmla="*/ 856 w 885"/>
                  <a:gd name="T97" fmla="*/ 31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5" h="641">
                    <a:moveTo>
                      <a:pt x="309" y="598"/>
                    </a:moveTo>
                    <a:cubicBezTo>
                      <a:pt x="267" y="621"/>
                      <a:pt x="201" y="622"/>
                      <a:pt x="177" y="622"/>
                    </a:cubicBezTo>
                    <a:cubicBezTo>
                      <a:pt x="177" y="622"/>
                      <a:pt x="177" y="622"/>
                      <a:pt x="177" y="535"/>
                    </a:cubicBezTo>
                    <a:cubicBezTo>
                      <a:pt x="177" y="532"/>
                      <a:pt x="175" y="529"/>
                      <a:pt x="173" y="527"/>
                    </a:cubicBezTo>
                    <a:cubicBezTo>
                      <a:pt x="170" y="525"/>
                      <a:pt x="168" y="525"/>
                      <a:pt x="165" y="526"/>
                    </a:cubicBezTo>
                    <a:cubicBezTo>
                      <a:pt x="162" y="526"/>
                      <a:pt x="142" y="528"/>
                      <a:pt x="120" y="528"/>
                    </a:cubicBezTo>
                    <a:cubicBezTo>
                      <a:pt x="118" y="528"/>
                      <a:pt x="118" y="528"/>
                      <a:pt x="118" y="528"/>
                    </a:cubicBezTo>
                    <a:cubicBezTo>
                      <a:pt x="81" y="528"/>
                      <a:pt x="75" y="523"/>
                      <a:pt x="75" y="523"/>
                    </a:cubicBezTo>
                    <a:cubicBezTo>
                      <a:pt x="70" y="516"/>
                      <a:pt x="68" y="473"/>
                      <a:pt x="71" y="428"/>
                    </a:cubicBezTo>
                    <a:cubicBezTo>
                      <a:pt x="71" y="425"/>
                      <a:pt x="70" y="422"/>
                      <a:pt x="68" y="420"/>
                    </a:cubicBezTo>
                    <a:cubicBezTo>
                      <a:pt x="66" y="418"/>
                      <a:pt x="63" y="417"/>
                      <a:pt x="60" y="418"/>
                    </a:cubicBezTo>
                    <a:cubicBezTo>
                      <a:pt x="36" y="420"/>
                      <a:pt x="26" y="412"/>
                      <a:pt x="24" y="409"/>
                    </a:cubicBezTo>
                    <a:cubicBezTo>
                      <a:pt x="24" y="406"/>
                      <a:pt x="29" y="397"/>
                      <a:pt x="37" y="389"/>
                    </a:cubicBezTo>
                    <a:cubicBezTo>
                      <a:pt x="51" y="375"/>
                      <a:pt x="60" y="355"/>
                      <a:pt x="63" y="349"/>
                    </a:cubicBezTo>
                    <a:cubicBezTo>
                      <a:pt x="66" y="342"/>
                      <a:pt x="66" y="330"/>
                      <a:pt x="66" y="311"/>
                    </a:cubicBezTo>
                    <a:cubicBezTo>
                      <a:pt x="66" y="304"/>
                      <a:pt x="67" y="297"/>
                      <a:pt x="67" y="292"/>
                    </a:cubicBezTo>
                    <a:cubicBezTo>
                      <a:pt x="67" y="291"/>
                      <a:pt x="68" y="289"/>
                      <a:pt x="68" y="287"/>
                    </a:cubicBezTo>
                    <a:cubicBezTo>
                      <a:pt x="62" y="281"/>
                      <a:pt x="56" y="276"/>
                      <a:pt x="51" y="271"/>
                    </a:cubicBezTo>
                    <a:cubicBezTo>
                      <a:pt x="50" y="277"/>
                      <a:pt x="48" y="285"/>
                      <a:pt x="48" y="291"/>
                    </a:cubicBezTo>
                    <a:cubicBezTo>
                      <a:pt x="48" y="296"/>
                      <a:pt x="48" y="303"/>
                      <a:pt x="47" y="310"/>
                    </a:cubicBezTo>
                    <a:cubicBezTo>
                      <a:pt x="47" y="321"/>
                      <a:pt x="46" y="337"/>
                      <a:pt x="45" y="342"/>
                    </a:cubicBezTo>
                    <a:cubicBezTo>
                      <a:pt x="41" y="352"/>
                      <a:pt x="33" y="366"/>
                      <a:pt x="23" y="376"/>
                    </a:cubicBezTo>
                    <a:cubicBezTo>
                      <a:pt x="14" y="385"/>
                      <a:pt x="0" y="404"/>
                      <a:pt x="5" y="416"/>
                    </a:cubicBezTo>
                    <a:cubicBezTo>
                      <a:pt x="8" y="424"/>
                      <a:pt x="22" y="437"/>
                      <a:pt x="51" y="437"/>
                    </a:cubicBezTo>
                    <a:cubicBezTo>
                      <a:pt x="51" y="446"/>
                      <a:pt x="50" y="459"/>
                      <a:pt x="50" y="473"/>
                    </a:cubicBezTo>
                    <a:cubicBezTo>
                      <a:pt x="50" y="519"/>
                      <a:pt x="56" y="531"/>
                      <a:pt x="61" y="536"/>
                    </a:cubicBezTo>
                    <a:cubicBezTo>
                      <a:pt x="66" y="541"/>
                      <a:pt x="78" y="547"/>
                      <a:pt x="122" y="547"/>
                    </a:cubicBezTo>
                    <a:cubicBezTo>
                      <a:pt x="131" y="547"/>
                      <a:pt x="147" y="547"/>
                      <a:pt x="158" y="546"/>
                    </a:cubicBezTo>
                    <a:cubicBezTo>
                      <a:pt x="158" y="546"/>
                      <a:pt x="158" y="546"/>
                      <a:pt x="158" y="631"/>
                    </a:cubicBezTo>
                    <a:cubicBezTo>
                      <a:pt x="158" y="636"/>
                      <a:pt x="162" y="641"/>
                      <a:pt x="167" y="641"/>
                    </a:cubicBezTo>
                    <a:cubicBezTo>
                      <a:pt x="181" y="641"/>
                      <a:pt x="181" y="641"/>
                      <a:pt x="181" y="641"/>
                    </a:cubicBezTo>
                    <a:cubicBezTo>
                      <a:pt x="211" y="641"/>
                      <a:pt x="279" y="638"/>
                      <a:pt x="324" y="611"/>
                    </a:cubicBezTo>
                    <a:cubicBezTo>
                      <a:pt x="327" y="609"/>
                      <a:pt x="328" y="606"/>
                      <a:pt x="328" y="603"/>
                    </a:cubicBezTo>
                    <a:cubicBezTo>
                      <a:pt x="328" y="603"/>
                      <a:pt x="328" y="603"/>
                      <a:pt x="328" y="510"/>
                    </a:cubicBezTo>
                    <a:cubicBezTo>
                      <a:pt x="320" y="517"/>
                      <a:pt x="314" y="520"/>
                      <a:pt x="309" y="522"/>
                    </a:cubicBezTo>
                    <a:lnTo>
                      <a:pt x="309" y="598"/>
                    </a:lnTo>
                    <a:close/>
                    <a:moveTo>
                      <a:pt x="513" y="473"/>
                    </a:moveTo>
                    <a:cubicBezTo>
                      <a:pt x="535" y="463"/>
                      <a:pt x="443" y="362"/>
                      <a:pt x="517" y="289"/>
                    </a:cubicBezTo>
                    <a:cubicBezTo>
                      <a:pt x="517" y="289"/>
                      <a:pt x="606" y="272"/>
                      <a:pt x="688" y="239"/>
                    </a:cubicBezTo>
                    <a:cubicBezTo>
                      <a:pt x="683" y="246"/>
                      <a:pt x="674" y="255"/>
                      <a:pt x="661" y="265"/>
                    </a:cubicBezTo>
                    <a:cubicBezTo>
                      <a:pt x="658" y="267"/>
                      <a:pt x="661" y="272"/>
                      <a:pt x="665" y="271"/>
                    </a:cubicBezTo>
                    <a:cubicBezTo>
                      <a:pt x="707" y="249"/>
                      <a:pt x="783" y="195"/>
                      <a:pt x="804" y="166"/>
                    </a:cubicBezTo>
                    <a:cubicBezTo>
                      <a:pt x="817" y="151"/>
                      <a:pt x="825" y="135"/>
                      <a:pt x="826" y="116"/>
                    </a:cubicBezTo>
                    <a:cubicBezTo>
                      <a:pt x="826" y="113"/>
                      <a:pt x="826" y="113"/>
                      <a:pt x="826" y="113"/>
                    </a:cubicBezTo>
                    <a:cubicBezTo>
                      <a:pt x="827" y="82"/>
                      <a:pt x="776" y="16"/>
                      <a:pt x="633" y="8"/>
                    </a:cubicBezTo>
                    <a:cubicBezTo>
                      <a:pt x="508" y="0"/>
                      <a:pt x="426" y="62"/>
                      <a:pt x="393" y="126"/>
                    </a:cubicBezTo>
                    <a:cubicBezTo>
                      <a:pt x="299" y="305"/>
                      <a:pt x="498" y="480"/>
                      <a:pt x="513" y="473"/>
                    </a:cubicBezTo>
                    <a:close/>
                    <a:moveTo>
                      <a:pt x="350" y="260"/>
                    </a:moveTo>
                    <a:cubicBezTo>
                      <a:pt x="347" y="231"/>
                      <a:pt x="348" y="203"/>
                      <a:pt x="354" y="177"/>
                    </a:cubicBezTo>
                    <a:cubicBezTo>
                      <a:pt x="319" y="148"/>
                      <a:pt x="268" y="128"/>
                      <a:pt x="202" y="133"/>
                    </a:cubicBezTo>
                    <a:cubicBezTo>
                      <a:pt x="87" y="140"/>
                      <a:pt x="46" y="192"/>
                      <a:pt x="47" y="217"/>
                    </a:cubicBezTo>
                    <a:cubicBezTo>
                      <a:pt x="47" y="220"/>
                      <a:pt x="47" y="220"/>
                      <a:pt x="47" y="220"/>
                    </a:cubicBezTo>
                    <a:cubicBezTo>
                      <a:pt x="48" y="234"/>
                      <a:pt x="55" y="247"/>
                      <a:pt x="65" y="259"/>
                    </a:cubicBezTo>
                    <a:cubicBezTo>
                      <a:pt x="82" y="282"/>
                      <a:pt x="143" y="326"/>
                      <a:pt x="177" y="343"/>
                    </a:cubicBezTo>
                    <a:cubicBezTo>
                      <a:pt x="180" y="344"/>
                      <a:pt x="182" y="340"/>
                      <a:pt x="179" y="338"/>
                    </a:cubicBezTo>
                    <a:cubicBezTo>
                      <a:pt x="169" y="330"/>
                      <a:pt x="163" y="323"/>
                      <a:pt x="158" y="318"/>
                    </a:cubicBezTo>
                    <a:cubicBezTo>
                      <a:pt x="224" y="344"/>
                      <a:pt x="295" y="357"/>
                      <a:pt x="295" y="357"/>
                    </a:cubicBezTo>
                    <a:cubicBezTo>
                      <a:pt x="355" y="416"/>
                      <a:pt x="281" y="496"/>
                      <a:pt x="299" y="505"/>
                    </a:cubicBezTo>
                    <a:cubicBezTo>
                      <a:pt x="306" y="508"/>
                      <a:pt x="368" y="457"/>
                      <a:pt x="399" y="385"/>
                    </a:cubicBezTo>
                    <a:cubicBezTo>
                      <a:pt x="398" y="383"/>
                      <a:pt x="396" y="381"/>
                      <a:pt x="395" y="379"/>
                    </a:cubicBezTo>
                    <a:cubicBezTo>
                      <a:pt x="371" y="340"/>
                      <a:pt x="356" y="300"/>
                      <a:pt x="350" y="260"/>
                    </a:cubicBezTo>
                    <a:close/>
                    <a:moveTo>
                      <a:pt x="856" y="315"/>
                    </a:moveTo>
                    <a:cubicBezTo>
                      <a:pt x="845" y="303"/>
                      <a:pt x="834" y="284"/>
                      <a:pt x="829" y="271"/>
                    </a:cubicBezTo>
                    <a:cubicBezTo>
                      <a:pt x="827" y="266"/>
                      <a:pt x="826" y="246"/>
                      <a:pt x="826" y="232"/>
                    </a:cubicBezTo>
                    <a:cubicBezTo>
                      <a:pt x="826" y="223"/>
                      <a:pt x="825" y="214"/>
                      <a:pt x="825" y="207"/>
                    </a:cubicBezTo>
                    <a:cubicBezTo>
                      <a:pt x="824" y="199"/>
                      <a:pt x="822" y="188"/>
                      <a:pt x="820" y="178"/>
                    </a:cubicBezTo>
                    <a:cubicBezTo>
                      <a:pt x="816" y="184"/>
                      <a:pt x="810" y="190"/>
                      <a:pt x="804" y="195"/>
                    </a:cubicBezTo>
                    <a:cubicBezTo>
                      <a:pt x="805" y="200"/>
                      <a:pt x="805" y="205"/>
                      <a:pt x="805" y="209"/>
                    </a:cubicBezTo>
                    <a:cubicBezTo>
                      <a:pt x="806" y="215"/>
                      <a:pt x="806" y="223"/>
                      <a:pt x="806" y="232"/>
                    </a:cubicBezTo>
                    <a:cubicBezTo>
                      <a:pt x="807" y="255"/>
                      <a:pt x="808" y="270"/>
                      <a:pt x="811" y="279"/>
                    </a:cubicBezTo>
                    <a:cubicBezTo>
                      <a:pt x="814" y="286"/>
                      <a:pt x="825" y="311"/>
                      <a:pt x="843" y="328"/>
                    </a:cubicBezTo>
                    <a:cubicBezTo>
                      <a:pt x="855" y="340"/>
                      <a:pt x="860" y="351"/>
                      <a:pt x="861" y="355"/>
                    </a:cubicBezTo>
                    <a:cubicBezTo>
                      <a:pt x="858" y="359"/>
                      <a:pt x="843" y="371"/>
                      <a:pt x="811" y="367"/>
                    </a:cubicBezTo>
                    <a:cubicBezTo>
                      <a:pt x="809" y="367"/>
                      <a:pt x="805" y="368"/>
                      <a:pt x="804" y="370"/>
                    </a:cubicBezTo>
                    <a:cubicBezTo>
                      <a:pt x="801" y="372"/>
                      <a:pt x="801" y="375"/>
                      <a:pt x="801" y="378"/>
                    </a:cubicBezTo>
                    <a:cubicBezTo>
                      <a:pt x="801" y="378"/>
                      <a:pt x="803" y="406"/>
                      <a:pt x="803" y="434"/>
                    </a:cubicBezTo>
                    <a:cubicBezTo>
                      <a:pt x="803" y="489"/>
                      <a:pt x="796" y="497"/>
                      <a:pt x="795" y="498"/>
                    </a:cubicBezTo>
                    <a:cubicBezTo>
                      <a:pt x="795" y="498"/>
                      <a:pt x="787" y="505"/>
                      <a:pt x="737" y="505"/>
                    </a:cubicBezTo>
                    <a:cubicBezTo>
                      <a:pt x="710" y="505"/>
                      <a:pt x="684" y="502"/>
                      <a:pt x="680" y="502"/>
                    </a:cubicBezTo>
                    <a:cubicBezTo>
                      <a:pt x="678" y="501"/>
                      <a:pt x="675" y="502"/>
                      <a:pt x="673" y="503"/>
                    </a:cubicBezTo>
                    <a:cubicBezTo>
                      <a:pt x="670" y="505"/>
                      <a:pt x="668" y="508"/>
                      <a:pt x="668" y="511"/>
                    </a:cubicBezTo>
                    <a:cubicBezTo>
                      <a:pt x="668" y="511"/>
                      <a:pt x="668" y="511"/>
                      <a:pt x="668" y="622"/>
                    </a:cubicBezTo>
                    <a:cubicBezTo>
                      <a:pt x="640" y="622"/>
                      <a:pt x="554" y="621"/>
                      <a:pt x="498" y="590"/>
                    </a:cubicBezTo>
                    <a:cubicBezTo>
                      <a:pt x="498" y="590"/>
                      <a:pt x="498" y="590"/>
                      <a:pt x="498" y="489"/>
                    </a:cubicBezTo>
                    <a:cubicBezTo>
                      <a:pt x="493" y="486"/>
                      <a:pt x="487" y="482"/>
                      <a:pt x="479" y="476"/>
                    </a:cubicBezTo>
                    <a:cubicBezTo>
                      <a:pt x="479" y="476"/>
                      <a:pt x="479" y="476"/>
                      <a:pt x="479" y="596"/>
                    </a:cubicBezTo>
                    <a:cubicBezTo>
                      <a:pt x="479" y="599"/>
                      <a:pt x="481" y="602"/>
                      <a:pt x="484" y="604"/>
                    </a:cubicBezTo>
                    <a:cubicBezTo>
                      <a:pt x="539" y="637"/>
                      <a:pt x="624" y="641"/>
                      <a:pt x="661" y="641"/>
                    </a:cubicBezTo>
                    <a:cubicBezTo>
                      <a:pt x="679" y="641"/>
                      <a:pt x="679" y="641"/>
                      <a:pt x="679" y="641"/>
                    </a:cubicBezTo>
                    <a:cubicBezTo>
                      <a:pt x="683" y="641"/>
                      <a:pt x="688" y="636"/>
                      <a:pt x="688" y="632"/>
                    </a:cubicBezTo>
                    <a:cubicBezTo>
                      <a:pt x="688" y="632"/>
                      <a:pt x="688" y="632"/>
                      <a:pt x="688" y="522"/>
                    </a:cubicBezTo>
                    <a:cubicBezTo>
                      <a:pt x="701" y="523"/>
                      <a:pt x="721" y="524"/>
                      <a:pt x="735" y="524"/>
                    </a:cubicBezTo>
                    <a:cubicBezTo>
                      <a:pt x="790" y="525"/>
                      <a:pt x="803" y="517"/>
                      <a:pt x="809" y="511"/>
                    </a:cubicBezTo>
                    <a:cubicBezTo>
                      <a:pt x="815" y="505"/>
                      <a:pt x="822" y="490"/>
                      <a:pt x="822" y="434"/>
                    </a:cubicBezTo>
                    <a:cubicBezTo>
                      <a:pt x="822" y="416"/>
                      <a:pt x="821" y="398"/>
                      <a:pt x="821" y="387"/>
                    </a:cubicBezTo>
                    <a:cubicBezTo>
                      <a:pt x="823" y="387"/>
                      <a:pt x="823" y="387"/>
                      <a:pt x="823" y="387"/>
                    </a:cubicBezTo>
                    <a:cubicBezTo>
                      <a:pt x="859" y="387"/>
                      <a:pt x="876" y="369"/>
                      <a:pt x="879" y="362"/>
                    </a:cubicBezTo>
                    <a:cubicBezTo>
                      <a:pt x="885" y="348"/>
                      <a:pt x="867" y="325"/>
                      <a:pt x="856" y="3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Oval 52">
              <a:extLst>
                <a:ext uri="{FF2B5EF4-FFF2-40B4-BE49-F238E27FC236}">
                  <a16:creationId xmlns:a16="http://schemas.microsoft.com/office/drawing/2014/main" id="{CB79400E-C3E0-72C2-36C3-858EF133B9FA}"/>
                </a:ext>
              </a:extLst>
            </p:cNvPr>
            <p:cNvSpPr/>
            <p:nvPr/>
          </p:nvSpPr>
          <p:spPr>
            <a:xfrm>
              <a:off x="5026620" y="2895074"/>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grpSp>
      <p:sp>
        <p:nvSpPr>
          <p:cNvPr id="48" name="ee4pContent1"/>
          <p:cNvSpPr txBox="1"/>
          <p:nvPr>
            <p:custDataLst>
              <p:tags r:id="rId7"/>
            </p:custDataLst>
          </p:nvPr>
        </p:nvSpPr>
        <p:spPr>
          <a:xfrm>
            <a:off x="5140623" y="1526420"/>
            <a:ext cx="6325503" cy="321627"/>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pPr>
            <a:r>
              <a:rPr lang="en-US" sz="2000" b="1" dirty="0">
                <a:solidFill>
                  <a:srgbClr val="FFFFFF"/>
                </a:solidFill>
                <a:latin typeface="Calibri" panose="020F0502020204030204" pitchFamily="34" charset="0"/>
                <a:cs typeface="Calibri" panose="020F0502020204030204" pitchFamily="34" charset="0"/>
              </a:rPr>
              <a:t>9,205 construction and permanent jobs created</a:t>
            </a:r>
          </a:p>
        </p:txBody>
      </p:sp>
      <p:graphicFrame>
        <p:nvGraphicFramePr>
          <p:cNvPr id="4" name="think-cell data - do not delete" hidden="1">
            <a:extLst>
              <a:ext uri="{FF2B5EF4-FFF2-40B4-BE49-F238E27FC236}">
                <a16:creationId xmlns:a16="http://schemas.microsoft.com/office/drawing/2014/main" id="{C1194416-FE99-34B1-641F-C8D11541EDB5}"/>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86" imgH="286" progId="TCLayout.ActiveDocument.1">
                  <p:embed/>
                </p:oleObj>
              </mc:Choice>
              <mc:Fallback>
                <p:oleObj name="think-cell Slide" r:id="rId14" imgW="286" imgH="286" progId="TCLayout.ActiveDocument.1">
                  <p:embed/>
                  <p:pic>
                    <p:nvPicPr>
                      <p:cNvPr id="4" name="think-cell data - do not delete" hidden="1">
                        <a:extLst>
                          <a:ext uri="{FF2B5EF4-FFF2-40B4-BE49-F238E27FC236}">
                            <a16:creationId xmlns:a16="http://schemas.microsoft.com/office/drawing/2014/main" id="{C1194416-FE99-34B1-641F-C8D11541EDB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B6C444E7-B05D-22C7-9832-8AE531C48646}"/>
              </a:ext>
            </a:extLst>
          </p:cNvPr>
          <p:cNvGrpSpPr/>
          <p:nvPr/>
        </p:nvGrpSpPr>
        <p:grpSpPr>
          <a:xfrm>
            <a:off x="4190128" y="5717614"/>
            <a:ext cx="802294" cy="802294"/>
            <a:chOff x="5026620" y="481852"/>
            <a:chExt cx="1067853" cy="1067853"/>
          </a:xfrm>
        </p:grpSpPr>
        <p:sp>
          <p:nvSpPr>
            <p:cNvPr id="5" name="Oval 4">
              <a:extLst>
                <a:ext uri="{FF2B5EF4-FFF2-40B4-BE49-F238E27FC236}">
                  <a16:creationId xmlns:a16="http://schemas.microsoft.com/office/drawing/2014/main" id="{165A30BE-07FC-DB3D-1C77-08AB6794D2D5}"/>
                </a:ext>
              </a:extLst>
            </p:cNvPr>
            <p:cNvSpPr/>
            <p:nvPr/>
          </p:nvSpPr>
          <p:spPr>
            <a:xfrm>
              <a:off x="5026620" y="481852"/>
              <a:ext cx="1067853" cy="1067853"/>
            </a:xfrm>
            <a:prstGeom prst="ellipse">
              <a:avLst/>
            </a:prstGeom>
            <a:grp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a:solidFill>
                  <a:schemeClr val="tx1"/>
                </a:solidFill>
                <a:latin typeface="Trebuchet MS" panose="020B0603020202020204" pitchFamily="34" charset="0"/>
              </a:endParaRPr>
            </a:p>
          </p:txBody>
        </p:sp>
        <p:sp>
          <p:nvSpPr>
            <p:cNvPr id="8" name="Freeform: Shape 43">
              <a:extLst>
                <a:ext uri="{FF2B5EF4-FFF2-40B4-BE49-F238E27FC236}">
                  <a16:creationId xmlns:a16="http://schemas.microsoft.com/office/drawing/2014/main" id="{A020157D-89EC-A76A-5039-269D20DE9BFA}"/>
                </a:ext>
              </a:extLst>
            </p:cNvPr>
            <p:cNvSpPr/>
            <p:nvPr/>
          </p:nvSpPr>
          <p:spPr>
            <a:xfrm>
              <a:off x="5123967" y="579196"/>
              <a:ext cx="873162" cy="873161"/>
            </a:xfrm>
            <a:custGeom>
              <a:avLst/>
              <a:gdLst>
                <a:gd name="connsiteX0" fmla="*/ 7144 w 2390775"/>
                <a:gd name="connsiteY0" fmla="*/ 7144 h 2390775"/>
                <a:gd name="connsiteX1" fmla="*/ 2388394 w 2390775"/>
                <a:gd name="connsiteY1" fmla="*/ 7144 h 2390775"/>
                <a:gd name="connsiteX2" fmla="*/ 2388394 w 2390775"/>
                <a:gd name="connsiteY2" fmla="*/ 2388394 h 2390775"/>
                <a:gd name="connsiteX3" fmla="*/ 7144 w 2390775"/>
                <a:gd name="connsiteY3" fmla="*/ 2388394 h 2390775"/>
              </a:gdLst>
              <a:ahLst/>
              <a:cxnLst>
                <a:cxn ang="0">
                  <a:pos x="connsiteX0" y="connsiteY0"/>
                </a:cxn>
                <a:cxn ang="0">
                  <a:pos x="connsiteX1" y="connsiteY1"/>
                </a:cxn>
                <a:cxn ang="0">
                  <a:pos x="connsiteX2" y="connsiteY2"/>
                </a:cxn>
                <a:cxn ang="0">
                  <a:pos x="connsiteX3" y="connsiteY3"/>
                </a:cxn>
              </a:cxnLst>
              <a:rect l="l" t="t" r="r" b="b"/>
              <a:pathLst>
                <a:path w="2390775" h="2390775">
                  <a:moveTo>
                    <a:pt x="7144" y="7144"/>
                  </a:moveTo>
                  <a:lnTo>
                    <a:pt x="2388394" y="7144"/>
                  </a:lnTo>
                  <a:lnTo>
                    <a:pt x="2388394" y="2388394"/>
                  </a:lnTo>
                  <a:lnTo>
                    <a:pt x="7144" y="2388394"/>
                  </a:lnTo>
                  <a:close/>
                </a:path>
              </a:pathLst>
            </a:custGeom>
            <a:noFill/>
            <a:ln w="9525" cap="flat">
              <a:noFill/>
              <a:prstDash val="solid"/>
              <a:miter/>
            </a:ln>
          </p:spPr>
          <p:txBody>
            <a:bodyPr rtlCol="0" anchor="ctr"/>
            <a:lstStyle/>
            <a:p>
              <a:endParaRPr lang="en-US"/>
            </a:p>
          </p:txBody>
        </p:sp>
      </p:grpSp>
      <p:sp>
        <p:nvSpPr>
          <p:cNvPr id="9" name="ee4pContent1">
            <a:extLst>
              <a:ext uri="{FF2B5EF4-FFF2-40B4-BE49-F238E27FC236}">
                <a16:creationId xmlns:a16="http://schemas.microsoft.com/office/drawing/2014/main" id="{C178FB8D-796D-2651-D41B-5D09ADF2BBCE}"/>
              </a:ext>
            </a:extLst>
          </p:cNvPr>
          <p:cNvSpPr txBox="1"/>
          <p:nvPr>
            <p:custDataLst>
              <p:tags r:id="rId9"/>
            </p:custDataLst>
          </p:nvPr>
        </p:nvSpPr>
        <p:spPr>
          <a:xfrm>
            <a:off x="5161963" y="5772234"/>
            <a:ext cx="5150449" cy="660181"/>
          </a:xfrm>
          <a:prstGeom prst="rect">
            <a:avLst/>
          </a:prstGeom>
        </p:spPr>
        <p:txBody>
          <a:bodyPr vert="horz" wrap="square" lIns="0" tIns="0" rIns="0" bIns="0" rtlCol="0" anchor="ctr" anchorCtr="0">
            <a:spAutoFit/>
          </a:bodyPr>
          <a:lstStyle>
            <a:lvl1pPr lvl="0" indent="0">
              <a:lnSpc>
                <a:spcPct val="110000"/>
              </a:lnSpc>
              <a:spcBef>
                <a:spcPts val="600"/>
              </a:spcBef>
              <a:spcAft>
                <a:spcPts val="300"/>
              </a:spcAft>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bg1"/>
              </a:buClr>
              <a:buFont typeface="Arial" panose="020B0604020202020204" pitchFamily="34" charset="0"/>
              <a:buChar char="•"/>
              <a:defRPr sz="2400">
                <a:solidFill>
                  <a:schemeClr val="bg1"/>
                </a:solidFill>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solidFill>
                  <a:schemeClr val="bg1"/>
                </a:solidFill>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bg1"/>
              </a:buClr>
              <a:buFont typeface="Arial" panose="020B0604020202020204" pitchFamily="34" charset="0"/>
              <a:buChar char="•"/>
              <a:defRPr sz="2800">
                <a:solidFill>
                  <a:schemeClr val="bg1"/>
                </a:solidFill>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spcBef>
                <a:spcPts val="0"/>
              </a:spcBef>
              <a:spcAft>
                <a:spcPts val="0"/>
              </a:spcAft>
            </a:pPr>
            <a:r>
              <a:rPr lang="en-US" sz="2000" b="1" dirty="0">
                <a:solidFill>
                  <a:srgbClr val="FFFFFF"/>
                </a:solidFill>
                <a:latin typeface="Calibri" panose="020F0502020204030204" pitchFamily="34" charset="0"/>
                <a:cs typeface="Calibri" panose="020F0502020204030204" pitchFamily="34" charset="0"/>
              </a:rPr>
              <a:t>$54.5M+ in benefits flowing to communities through Community Benefits Plans </a:t>
            </a:r>
            <a:endParaRPr lang="en-US" dirty="0">
              <a:latin typeface="Calibri" panose="020F0502020204030204" pitchFamily="34" charset="0"/>
              <a:cs typeface="Calibri" panose="020F0502020204030204" pitchFamily="34" charset="0"/>
            </a:endParaRPr>
          </a:p>
        </p:txBody>
      </p:sp>
      <p:sp>
        <p:nvSpPr>
          <p:cNvPr id="6" name="Freeform 1405">
            <a:extLst>
              <a:ext uri="{FF2B5EF4-FFF2-40B4-BE49-F238E27FC236}">
                <a16:creationId xmlns:a16="http://schemas.microsoft.com/office/drawing/2014/main" id="{A3BBB0A8-0810-3DF8-729B-E54B845C6DDC}"/>
              </a:ext>
            </a:extLst>
          </p:cNvPr>
          <p:cNvSpPr/>
          <p:nvPr/>
        </p:nvSpPr>
        <p:spPr>
          <a:xfrm>
            <a:off x="4384231" y="5843578"/>
            <a:ext cx="394547" cy="525992"/>
          </a:xfrm>
          <a:custGeom>
            <a:avLst/>
            <a:gdLst>
              <a:gd name="connsiteX0" fmla="*/ 270764 w 271659"/>
              <a:gd name="connsiteY0" fmla="*/ 257409 h 362163"/>
              <a:gd name="connsiteX1" fmla="*/ 198644 w 271659"/>
              <a:gd name="connsiteY1" fmla="*/ 198586 h 362163"/>
              <a:gd name="connsiteX2" fmla="*/ 205897 w 271659"/>
              <a:gd name="connsiteY2" fmla="*/ 95443 h 362163"/>
              <a:gd name="connsiteX3" fmla="*/ 205494 w 271659"/>
              <a:gd name="connsiteY3" fmla="*/ 91817 h 362163"/>
              <a:gd name="connsiteX4" fmla="*/ 218387 w 271659"/>
              <a:gd name="connsiteY4" fmla="*/ 82953 h 362163"/>
              <a:gd name="connsiteX5" fmla="*/ 205091 w 271659"/>
              <a:gd name="connsiteY5" fmla="*/ 74089 h 362163"/>
              <a:gd name="connsiteX6" fmla="*/ 168427 w 271659"/>
              <a:gd name="connsiteY6" fmla="*/ 17280 h 362163"/>
              <a:gd name="connsiteX7" fmla="*/ 160772 w 271659"/>
              <a:gd name="connsiteY7" fmla="*/ 45886 h 362163"/>
              <a:gd name="connsiteX8" fmla="*/ 155937 w 271659"/>
              <a:gd name="connsiteY8" fmla="*/ 47901 h 362163"/>
              <a:gd name="connsiteX9" fmla="*/ 153116 w 271659"/>
              <a:gd name="connsiteY9" fmla="*/ 43066 h 362163"/>
              <a:gd name="connsiteX10" fmla="*/ 161174 w 271659"/>
              <a:gd name="connsiteY10" fmla="*/ 10028 h 362163"/>
              <a:gd name="connsiteX11" fmla="*/ 151102 w 271659"/>
              <a:gd name="connsiteY11" fmla="*/ 358 h 362163"/>
              <a:gd name="connsiteX12" fmla="*/ 118870 w 271659"/>
              <a:gd name="connsiteY12" fmla="*/ 358 h 362163"/>
              <a:gd name="connsiteX13" fmla="*/ 109603 w 271659"/>
              <a:gd name="connsiteY13" fmla="*/ 9625 h 362163"/>
              <a:gd name="connsiteX14" fmla="*/ 118064 w 271659"/>
              <a:gd name="connsiteY14" fmla="*/ 43469 h 362163"/>
              <a:gd name="connsiteX15" fmla="*/ 115244 w 271659"/>
              <a:gd name="connsiteY15" fmla="*/ 47498 h 362163"/>
              <a:gd name="connsiteX16" fmla="*/ 109603 w 271659"/>
              <a:gd name="connsiteY16" fmla="*/ 45483 h 362163"/>
              <a:gd name="connsiteX17" fmla="*/ 102351 w 271659"/>
              <a:gd name="connsiteY17" fmla="*/ 17683 h 362163"/>
              <a:gd name="connsiteX18" fmla="*/ 65687 w 271659"/>
              <a:gd name="connsiteY18" fmla="*/ 74492 h 362163"/>
              <a:gd name="connsiteX19" fmla="*/ 52391 w 271659"/>
              <a:gd name="connsiteY19" fmla="*/ 83759 h 362163"/>
              <a:gd name="connsiteX20" fmla="*/ 65284 w 271659"/>
              <a:gd name="connsiteY20" fmla="*/ 91817 h 362163"/>
              <a:gd name="connsiteX21" fmla="*/ 64881 w 271659"/>
              <a:gd name="connsiteY21" fmla="*/ 95040 h 362163"/>
              <a:gd name="connsiteX22" fmla="*/ 72133 w 271659"/>
              <a:gd name="connsiteY22" fmla="*/ 198586 h 362163"/>
              <a:gd name="connsiteX23" fmla="*/ 14 w 271659"/>
              <a:gd name="connsiteY23" fmla="*/ 259021 h 362163"/>
              <a:gd name="connsiteX24" fmla="*/ 14 w 271659"/>
              <a:gd name="connsiteY24" fmla="*/ 338796 h 362163"/>
              <a:gd name="connsiteX25" fmla="*/ 16936 w 271659"/>
              <a:gd name="connsiteY25" fmla="*/ 347257 h 362163"/>
              <a:gd name="connsiteX26" fmla="*/ 43930 w 271659"/>
              <a:gd name="connsiteY26" fmla="*/ 354912 h 362163"/>
              <a:gd name="connsiteX27" fmla="*/ 43930 w 271659"/>
              <a:gd name="connsiteY27" fmla="*/ 327111 h 362163"/>
              <a:gd name="connsiteX28" fmla="*/ 126525 w 271659"/>
              <a:gd name="connsiteY28" fmla="*/ 327111 h 362163"/>
              <a:gd name="connsiteX29" fmla="*/ 126928 w 271659"/>
              <a:gd name="connsiteY29" fmla="*/ 362164 h 362163"/>
              <a:gd name="connsiteX30" fmla="*/ 144253 w 271659"/>
              <a:gd name="connsiteY30" fmla="*/ 362164 h 362163"/>
              <a:gd name="connsiteX31" fmla="*/ 143850 w 271659"/>
              <a:gd name="connsiteY31" fmla="*/ 327111 h 362163"/>
              <a:gd name="connsiteX32" fmla="*/ 226445 w 271659"/>
              <a:gd name="connsiteY32" fmla="*/ 327514 h 362163"/>
              <a:gd name="connsiteX33" fmla="*/ 226847 w 271659"/>
              <a:gd name="connsiteY33" fmla="*/ 354509 h 362163"/>
              <a:gd name="connsiteX34" fmla="*/ 250216 w 271659"/>
              <a:gd name="connsiteY34" fmla="*/ 348868 h 362163"/>
              <a:gd name="connsiteX35" fmla="*/ 270764 w 271659"/>
              <a:gd name="connsiteY35" fmla="*/ 338393 h 362163"/>
              <a:gd name="connsiteX36" fmla="*/ 270764 w 271659"/>
              <a:gd name="connsiteY36" fmla="*/ 257409 h 362163"/>
              <a:gd name="connsiteX37" fmla="*/ 144656 w 271659"/>
              <a:gd name="connsiteY37" fmla="*/ 92623 h 362163"/>
              <a:gd name="connsiteX38" fmla="*/ 147879 w 271659"/>
              <a:gd name="connsiteY38" fmla="*/ 92623 h 362163"/>
              <a:gd name="connsiteX39" fmla="*/ 187363 w 271659"/>
              <a:gd name="connsiteY39" fmla="*/ 123243 h 362163"/>
              <a:gd name="connsiteX40" fmla="*/ 137806 w 271659"/>
              <a:gd name="connsiteY40" fmla="*/ 174009 h 362163"/>
              <a:gd name="connsiteX41" fmla="*/ 82609 w 271659"/>
              <a:gd name="connsiteY41" fmla="*/ 122437 h 362163"/>
              <a:gd name="connsiteX42" fmla="*/ 144656 w 271659"/>
              <a:gd name="connsiteY42" fmla="*/ 92623 h 362163"/>
              <a:gd name="connsiteX43" fmla="*/ 126525 w 271659"/>
              <a:gd name="connsiteY43" fmla="*/ 309787 h 362163"/>
              <a:gd name="connsiteX44" fmla="*/ 45542 w 271659"/>
              <a:gd name="connsiteY44" fmla="*/ 309787 h 362163"/>
              <a:gd name="connsiteX45" fmla="*/ 59240 w 271659"/>
              <a:gd name="connsiteY45" fmla="*/ 223566 h 362163"/>
              <a:gd name="connsiteX46" fmla="*/ 96710 w 271659"/>
              <a:gd name="connsiteY46" fmla="*/ 208255 h 362163"/>
              <a:gd name="connsiteX47" fmla="*/ 126525 w 271659"/>
              <a:gd name="connsiteY47" fmla="*/ 279972 h 362163"/>
              <a:gd name="connsiteX48" fmla="*/ 126525 w 271659"/>
              <a:gd name="connsiteY48" fmla="*/ 309787 h 362163"/>
              <a:gd name="connsiteX49" fmla="*/ 135792 w 271659"/>
              <a:gd name="connsiteY49" fmla="*/ 209867 h 362163"/>
              <a:gd name="connsiteX50" fmla="*/ 101545 w 271659"/>
              <a:gd name="connsiteY50" fmla="*/ 205032 h 362163"/>
              <a:gd name="connsiteX51" fmla="*/ 107589 w 271659"/>
              <a:gd name="connsiteY51" fmla="*/ 197377 h 362163"/>
              <a:gd name="connsiteX52" fmla="*/ 109200 w 271659"/>
              <a:gd name="connsiteY52" fmla="*/ 187305 h 362163"/>
              <a:gd name="connsiteX53" fmla="*/ 161577 w 271659"/>
              <a:gd name="connsiteY53" fmla="*/ 187305 h 362163"/>
              <a:gd name="connsiteX54" fmla="*/ 163189 w 271659"/>
              <a:gd name="connsiteY54" fmla="*/ 196168 h 362163"/>
              <a:gd name="connsiteX55" fmla="*/ 169635 w 271659"/>
              <a:gd name="connsiteY55" fmla="*/ 205032 h 362163"/>
              <a:gd name="connsiteX56" fmla="*/ 135792 w 271659"/>
              <a:gd name="connsiteY56" fmla="*/ 209867 h 362163"/>
              <a:gd name="connsiteX57" fmla="*/ 144656 w 271659"/>
              <a:gd name="connsiteY57" fmla="*/ 309787 h 362163"/>
              <a:gd name="connsiteX58" fmla="*/ 144656 w 271659"/>
              <a:gd name="connsiteY58" fmla="*/ 279569 h 362163"/>
              <a:gd name="connsiteX59" fmla="*/ 174470 w 271659"/>
              <a:gd name="connsiteY59" fmla="*/ 208255 h 362163"/>
              <a:gd name="connsiteX60" fmla="*/ 212746 w 271659"/>
              <a:gd name="connsiteY60" fmla="*/ 223969 h 362163"/>
              <a:gd name="connsiteX61" fmla="*/ 226445 w 271659"/>
              <a:gd name="connsiteY61" fmla="*/ 309787 h 362163"/>
              <a:gd name="connsiteX62" fmla="*/ 144656 w 271659"/>
              <a:gd name="connsiteY62" fmla="*/ 309787 h 36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1659" h="362163">
                <a:moveTo>
                  <a:pt x="270764" y="257409"/>
                </a:moveTo>
                <a:cubicBezTo>
                  <a:pt x="268749" y="224372"/>
                  <a:pt x="198644" y="198586"/>
                  <a:pt x="198644" y="198586"/>
                </a:cubicBezTo>
                <a:cubicBezTo>
                  <a:pt x="234503" y="131704"/>
                  <a:pt x="205897" y="95443"/>
                  <a:pt x="205897" y="95443"/>
                </a:cubicBezTo>
                <a:lnTo>
                  <a:pt x="205494" y="91817"/>
                </a:lnTo>
                <a:cubicBezTo>
                  <a:pt x="205494" y="91817"/>
                  <a:pt x="218789" y="93831"/>
                  <a:pt x="218387" y="82953"/>
                </a:cubicBezTo>
                <a:cubicBezTo>
                  <a:pt x="217984" y="72075"/>
                  <a:pt x="205091" y="74089"/>
                  <a:pt x="205091" y="74089"/>
                </a:cubicBezTo>
                <a:cubicBezTo>
                  <a:pt x="201868" y="32590"/>
                  <a:pt x="168427" y="17280"/>
                  <a:pt x="168427" y="17280"/>
                </a:cubicBezTo>
                <a:cubicBezTo>
                  <a:pt x="168427" y="17280"/>
                  <a:pt x="161980" y="44274"/>
                  <a:pt x="160772" y="45886"/>
                </a:cubicBezTo>
                <a:cubicBezTo>
                  <a:pt x="159563" y="47901"/>
                  <a:pt x="159160" y="48303"/>
                  <a:pt x="155937" y="47901"/>
                </a:cubicBezTo>
                <a:cubicBezTo>
                  <a:pt x="152311" y="47095"/>
                  <a:pt x="153116" y="43066"/>
                  <a:pt x="153116" y="43066"/>
                </a:cubicBezTo>
                <a:cubicBezTo>
                  <a:pt x="153116" y="43066"/>
                  <a:pt x="162786" y="16474"/>
                  <a:pt x="161174" y="10028"/>
                </a:cubicBezTo>
                <a:cubicBezTo>
                  <a:pt x="159160" y="1567"/>
                  <a:pt x="151102" y="358"/>
                  <a:pt x="151102" y="358"/>
                </a:cubicBezTo>
                <a:cubicBezTo>
                  <a:pt x="151102" y="358"/>
                  <a:pt x="124913" y="-448"/>
                  <a:pt x="118870" y="358"/>
                </a:cubicBezTo>
                <a:cubicBezTo>
                  <a:pt x="113229" y="1164"/>
                  <a:pt x="109603" y="9625"/>
                  <a:pt x="109603" y="9625"/>
                </a:cubicBezTo>
                <a:lnTo>
                  <a:pt x="118064" y="43469"/>
                </a:lnTo>
                <a:cubicBezTo>
                  <a:pt x="118064" y="43469"/>
                  <a:pt x="118870" y="46289"/>
                  <a:pt x="115244" y="47498"/>
                </a:cubicBezTo>
                <a:cubicBezTo>
                  <a:pt x="111215" y="48706"/>
                  <a:pt x="109603" y="45483"/>
                  <a:pt x="109603" y="45483"/>
                </a:cubicBezTo>
                <a:lnTo>
                  <a:pt x="102351" y="17683"/>
                </a:lnTo>
                <a:cubicBezTo>
                  <a:pt x="64881" y="39842"/>
                  <a:pt x="65687" y="74492"/>
                  <a:pt x="65687" y="74492"/>
                </a:cubicBezTo>
                <a:cubicBezTo>
                  <a:pt x="65687" y="74492"/>
                  <a:pt x="52391" y="72075"/>
                  <a:pt x="52391" y="83759"/>
                </a:cubicBezTo>
                <a:cubicBezTo>
                  <a:pt x="52391" y="93428"/>
                  <a:pt x="65284" y="91817"/>
                  <a:pt x="65284" y="91817"/>
                </a:cubicBezTo>
                <a:lnTo>
                  <a:pt x="64881" y="95040"/>
                </a:lnTo>
                <a:cubicBezTo>
                  <a:pt x="38289" y="138553"/>
                  <a:pt x="72133" y="198586"/>
                  <a:pt x="72133" y="198586"/>
                </a:cubicBezTo>
                <a:cubicBezTo>
                  <a:pt x="-2806" y="224774"/>
                  <a:pt x="14" y="259021"/>
                  <a:pt x="14" y="259021"/>
                </a:cubicBezTo>
                <a:lnTo>
                  <a:pt x="14" y="338796"/>
                </a:lnTo>
                <a:cubicBezTo>
                  <a:pt x="14" y="338796"/>
                  <a:pt x="13713" y="346451"/>
                  <a:pt x="16936" y="347257"/>
                </a:cubicBezTo>
                <a:cubicBezTo>
                  <a:pt x="20159" y="348465"/>
                  <a:pt x="43930" y="354912"/>
                  <a:pt x="43930" y="354912"/>
                </a:cubicBezTo>
                <a:lnTo>
                  <a:pt x="43930" y="327111"/>
                </a:lnTo>
                <a:lnTo>
                  <a:pt x="126525" y="327111"/>
                </a:lnTo>
                <a:lnTo>
                  <a:pt x="126928" y="362164"/>
                </a:lnTo>
                <a:lnTo>
                  <a:pt x="144253" y="362164"/>
                </a:lnTo>
                <a:lnTo>
                  <a:pt x="143850" y="327111"/>
                </a:lnTo>
                <a:lnTo>
                  <a:pt x="226445" y="327514"/>
                </a:lnTo>
                <a:lnTo>
                  <a:pt x="226847" y="354509"/>
                </a:lnTo>
                <a:cubicBezTo>
                  <a:pt x="226847" y="354509"/>
                  <a:pt x="243366" y="350077"/>
                  <a:pt x="250216" y="348868"/>
                </a:cubicBezTo>
                <a:cubicBezTo>
                  <a:pt x="256662" y="347659"/>
                  <a:pt x="270764" y="338393"/>
                  <a:pt x="270764" y="338393"/>
                </a:cubicBezTo>
                <a:cubicBezTo>
                  <a:pt x="270764" y="338393"/>
                  <a:pt x="272778" y="290447"/>
                  <a:pt x="270764" y="257409"/>
                </a:cubicBezTo>
                <a:close/>
                <a:moveTo>
                  <a:pt x="144656" y="92623"/>
                </a:moveTo>
                <a:lnTo>
                  <a:pt x="147879" y="92623"/>
                </a:lnTo>
                <a:cubicBezTo>
                  <a:pt x="147879" y="92623"/>
                  <a:pt x="172859" y="106321"/>
                  <a:pt x="187363" y="123243"/>
                </a:cubicBezTo>
                <a:cubicBezTo>
                  <a:pt x="187363" y="123243"/>
                  <a:pt x="187766" y="171994"/>
                  <a:pt x="137806" y="174009"/>
                </a:cubicBezTo>
                <a:cubicBezTo>
                  <a:pt x="85832" y="176023"/>
                  <a:pt x="82609" y="122437"/>
                  <a:pt x="82609" y="122437"/>
                </a:cubicBezTo>
                <a:cubicBezTo>
                  <a:pt x="82609" y="122437"/>
                  <a:pt x="136195" y="113574"/>
                  <a:pt x="144656" y="92623"/>
                </a:cubicBezTo>
                <a:close/>
                <a:moveTo>
                  <a:pt x="126525" y="309787"/>
                </a:moveTo>
                <a:lnTo>
                  <a:pt x="45542" y="309787"/>
                </a:lnTo>
                <a:lnTo>
                  <a:pt x="59240" y="223566"/>
                </a:lnTo>
                <a:lnTo>
                  <a:pt x="96710" y="208255"/>
                </a:lnTo>
                <a:lnTo>
                  <a:pt x="126525" y="279972"/>
                </a:lnTo>
                <a:lnTo>
                  <a:pt x="126525" y="309787"/>
                </a:lnTo>
                <a:close/>
                <a:moveTo>
                  <a:pt x="135792" y="209867"/>
                </a:moveTo>
                <a:cubicBezTo>
                  <a:pt x="117258" y="209867"/>
                  <a:pt x="101545" y="205032"/>
                  <a:pt x="101545" y="205032"/>
                </a:cubicBezTo>
                <a:cubicBezTo>
                  <a:pt x="101545" y="205032"/>
                  <a:pt x="105977" y="200600"/>
                  <a:pt x="107589" y="197377"/>
                </a:cubicBezTo>
                <a:cubicBezTo>
                  <a:pt x="109200" y="194154"/>
                  <a:pt x="109603" y="190528"/>
                  <a:pt x="109200" y="187305"/>
                </a:cubicBezTo>
                <a:cubicBezTo>
                  <a:pt x="109200" y="187305"/>
                  <a:pt x="135389" y="198989"/>
                  <a:pt x="161577" y="187305"/>
                </a:cubicBezTo>
                <a:cubicBezTo>
                  <a:pt x="161577" y="187305"/>
                  <a:pt x="161174" y="192139"/>
                  <a:pt x="163189" y="196168"/>
                </a:cubicBezTo>
                <a:cubicBezTo>
                  <a:pt x="165204" y="200197"/>
                  <a:pt x="168427" y="204226"/>
                  <a:pt x="169635" y="205032"/>
                </a:cubicBezTo>
                <a:cubicBezTo>
                  <a:pt x="169635" y="205032"/>
                  <a:pt x="154728" y="209464"/>
                  <a:pt x="135792" y="209867"/>
                </a:cubicBezTo>
                <a:close/>
                <a:moveTo>
                  <a:pt x="144656" y="309787"/>
                </a:moveTo>
                <a:lnTo>
                  <a:pt x="144656" y="279569"/>
                </a:lnTo>
                <a:lnTo>
                  <a:pt x="174470" y="208255"/>
                </a:lnTo>
                <a:lnTo>
                  <a:pt x="212746" y="223969"/>
                </a:lnTo>
                <a:lnTo>
                  <a:pt x="226445" y="309787"/>
                </a:lnTo>
                <a:lnTo>
                  <a:pt x="144656" y="309787"/>
                </a:lnTo>
                <a:close/>
              </a:path>
            </a:pathLst>
          </a:custGeom>
          <a:solidFill>
            <a:schemeClr val="bg1"/>
          </a:solidFill>
          <a:ln w="4028" cap="flat">
            <a:solidFill>
              <a:schemeClr val="bg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9339593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0C39EC-95AA-DB8D-96EF-3EB3995E36E3}"/>
              </a:ext>
            </a:extLst>
          </p:cNvPr>
          <p:cNvSpPr>
            <a:spLocks noGrp="1"/>
          </p:cNvSpPr>
          <p:nvPr>
            <p:ph type="title"/>
          </p:nvPr>
        </p:nvSpPr>
        <p:spPr/>
        <p:txBody>
          <a:bodyPr/>
          <a:lstStyle/>
          <a:p>
            <a:r>
              <a:rPr lang="en-US">
                <a:solidFill>
                  <a:schemeClr val="bg1"/>
                </a:solidFill>
              </a:rPr>
              <a:t>Connect </a:t>
            </a:r>
            <a:br>
              <a:rPr lang="en-US">
                <a:solidFill>
                  <a:schemeClr val="bg1"/>
                </a:solidFill>
              </a:rPr>
            </a:br>
            <a:r>
              <a:rPr lang="en-US">
                <a:solidFill>
                  <a:schemeClr val="bg1"/>
                </a:solidFill>
              </a:rPr>
              <a:t>With MESC</a:t>
            </a:r>
          </a:p>
        </p:txBody>
      </p:sp>
    </p:spTree>
    <p:extLst>
      <p:ext uri="{BB962C8B-B14F-4D97-AF65-F5344CB8AC3E}">
        <p14:creationId xmlns:p14="http://schemas.microsoft.com/office/powerpoint/2010/main" val="2492299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491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a:extLst>
              <a:ext uri="{FF2B5EF4-FFF2-40B4-BE49-F238E27FC236}">
                <a16:creationId xmlns:a16="http://schemas.microsoft.com/office/drawing/2014/main" id="{8796DC62-18E4-B980-2F5E-732DBE4735F3}"/>
              </a:ext>
            </a:extLst>
          </p:cNvPr>
          <p:cNvSpPr/>
          <p:nvPr/>
        </p:nvSpPr>
        <p:spPr>
          <a:xfrm>
            <a:off x="429605" y="3410093"/>
            <a:ext cx="11368792" cy="1051560"/>
          </a:xfrm>
          <a:prstGeom prst="roundRect">
            <a:avLst>
              <a:gd name="adj" fmla="val 5000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ounded Rectangle 46">
            <a:extLst>
              <a:ext uri="{FF2B5EF4-FFF2-40B4-BE49-F238E27FC236}">
                <a16:creationId xmlns:a16="http://schemas.microsoft.com/office/drawing/2014/main" id="{DA3EE897-8A2B-0EB1-593D-0637A1A84F8A}"/>
              </a:ext>
            </a:extLst>
          </p:cNvPr>
          <p:cNvSpPr/>
          <p:nvPr/>
        </p:nvSpPr>
        <p:spPr>
          <a:xfrm>
            <a:off x="429605" y="5071178"/>
            <a:ext cx="11368792" cy="1051560"/>
          </a:xfrm>
          <a:prstGeom prst="roundRect">
            <a:avLst>
              <a:gd name="adj" fmla="val 5000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ounded Rectangle 44">
            <a:extLst>
              <a:ext uri="{FF2B5EF4-FFF2-40B4-BE49-F238E27FC236}">
                <a16:creationId xmlns:a16="http://schemas.microsoft.com/office/drawing/2014/main" id="{FAFAC6CF-9422-9231-6E30-AE8237895E2E}"/>
              </a:ext>
            </a:extLst>
          </p:cNvPr>
          <p:cNvSpPr/>
          <p:nvPr/>
        </p:nvSpPr>
        <p:spPr>
          <a:xfrm>
            <a:off x="429605" y="1803380"/>
            <a:ext cx="11368792" cy="1051560"/>
          </a:xfrm>
          <a:prstGeom prst="roundRect">
            <a:avLst>
              <a:gd name="adj" fmla="val 50000"/>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9280E5B-53EE-F207-2A2F-E08A92547DF8}"/>
              </a:ext>
            </a:extLst>
          </p:cNvPr>
          <p:cNvSpPr>
            <a:spLocks noGrp="1"/>
          </p:cNvSpPr>
          <p:nvPr>
            <p:ph type="title"/>
          </p:nvPr>
        </p:nvSpPr>
        <p:spPr/>
        <p:txBody>
          <a:bodyPr/>
          <a:lstStyle/>
          <a:p>
            <a:r>
              <a:rPr lang="en-US" dirty="0"/>
              <a:t>Securing the foundation of America's Energy Future</a:t>
            </a:r>
          </a:p>
        </p:txBody>
      </p:sp>
      <p:sp>
        <p:nvSpPr>
          <p:cNvPr id="17" name="TextBox 16">
            <a:extLst>
              <a:ext uri="{FF2B5EF4-FFF2-40B4-BE49-F238E27FC236}">
                <a16:creationId xmlns:a16="http://schemas.microsoft.com/office/drawing/2014/main" id="{FF6C4172-BA4C-ACE7-5702-340BC825E5C9}"/>
              </a:ext>
            </a:extLst>
          </p:cNvPr>
          <p:cNvSpPr txBox="1"/>
          <p:nvPr/>
        </p:nvSpPr>
        <p:spPr>
          <a:xfrm>
            <a:off x="6121963" y="1959828"/>
            <a:ext cx="5472082"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MESC Conducts </a:t>
            </a:r>
            <a:r>
              <a:rPr lang="en-US" sz="1400" b="1" dirty="0">
                <a:solidFill>
                  <a:schemeClr val="accent1"/>
                </a:solidFill>
                <a:latin typeface="Arial" panose="020B0604020202020204" pitchFamily="34" charset="0"/>
                <a:cs typeface="Arial" panose="020B0604020202020204" pitchFamily="34" charset="0"/>
              </a:rPr>
              <a:t>Cutting-Edge Economic and Technical Analyses</a:t>
            </a:r>
            <a:r>
              <a:rPr lang="en-US" sz="1400" dirty="0">
                <a:latin typeface="Arial" panose="020B0604020202020204" pitchFamily="34" charset="0"/>
                <a:cs typeface="Arial" panose="020B0604020202020204" pitchFamily="34" charset="0"/>
              </a:rPr>
              <a:t> to Identify the Gaps and Growth Opportunities Across the Nation's Energy Supply Chains.</a:t>
            </a:r>
          </a:p>
        </p:txBody>
      </p:sp>
      <p:sp>
        <p:nvSpPr>
          <p:cNvPr id="34" name="TextBox 33">
            <a:extLst>
              <a:ext uri="{FF2B5EF4-FFF2-40B4-BE49-F238E27FC236}">
                <a16:creationId xmlns:a16="http://schemas.microsoft.com/office/drawing/2014/main" id="{43F3A3D9-7FA9-E7C4-6768-4E2D712E972C}"/>
              </a:ext>
            </a:extLst>
          </p:cNvPr>
          <p:cNvSpPr txBox="1"/>
          <p:nvPr/>
        </p:nvSpPr>
        <p:spPr>
          <a:xfrm>
            <a:off x="6096001" y="3600485"/>
            <a:ext cx="5377082" cy="769441"/>
          </a:xfrm>
          <a:prstGeom prst="rect">
            <a:avLst/>
          </a:prstGeom>
          <a:noFill/>
        </p:spPr>
        <p:txBody>
          <a:bodyPr wrap="square" rtlCol="0">
            <a:spAutoFit/>
          </a:bodyPr>
          <a:lstStyle/>
          <a:p>
            <a:r>
              <a:rPr lang="en-US" sz="1600" b="1" dirty="0">
                <a:solidFill>
                  <a:schemeClr val="accent1"/>
                </a:solidFill>
                <a:latin typeface="Arial" panose="020B0604020202020204" pitchFamily="34" charset="0"/>
                <a:cs typeface="Arial" panose="020B0604020202020204" pitchFamily="34" charset="0"/>
              </a:rPr>
              <a:t>Making the U.S. Energy System More Secure</a:t>
            </a:r>
          </a:p>
          <a:p>
            <a:r>
              <a:rPr lang="en-US" sz="1400" b="1" dirty="0">
                <a:solidFill>
                  <a:schemeClr val="accent1"/>
                </a:solidFill>
                <a:latin typeface="Arial" panose="020B0604020202020204" pitchFamily="34" charset="0"/>
                <a:cs typeface="Arial" panose="020B0604020202020204" pitchFamily="34" charset="0"/>
              </a:rPr>
              <a:t>14</a:t>
            </a:r>
            <a:r>
              <a:rPr lang="en-US" sz="1400" dirty="0">
                <a:latin typeface="Arial" panose="020B0604020202020204" pitchFamily="34" charset="0"/>
                <a:cs typeface="Arial" panose="020B0604020202020204" pitchFamily="34" charset="0"/>
              </a:rPr>
              <a:t> Manufacturing Facilities Built or Retrofitted,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with </a:t>
            </a:r>
            <a:r>
              <a:rPr lang="en-US" sz="1400" b="1" dirty="0">
                <a:solidFill>
                  <a:schemeClr val="accent1"/>
                </a:solidFill>
                <a:latin typeface="Arial" panose="020B0604020202020204" pitchFamily="34" charset="0"/>
                <a:cs typeface="Arial" panose="020B0604020202020204" pitchFamily="34" charset="0"/>
              </a:rPr>
              <a:t>16</a:t>
            </a:r>
            <a:r>
              <a:rPr lang="en-US" sz="1400" dirty="0">
                <a:latin typeface="Arial" panose="020B0604020202020204" pitchFamily="34" charset="0"/>
                <a:cs typeface="Arial" panose="020B0604020202020204" pitchFamily="34" charset="0"/>
              </a:rPr>
              <a:t> More Facilities in the Project Pipeline</a:t>
            </a:r>
          </a:p>
        </p:txBody>
      </p:sp>
      <p:sp>
        <p:nvSpPr>
          <p:cNvPr id="35" name="TextBox 34">
            <a:extLst>
              <a:ext uri="{FF2B5EF4-FFF2-40B4-BE49-F238E27FC236}">
                <a16:creationId xmlns:a16="http://schemas.microsoft.com/office/drawing/2014/main" id="{70F10B03-3872-14A2-3BF5-314D144FD93E}"/>
              </a:ext>
            </a:extLst>
          </p:cNvPr>
          <p:cNvSpPr txBox="1"/>
          <p:nvPr/>
        </p:nvSpPr>
        <p:spPr>
          <a:xfrm>
            <a:off x="6225770" y="5213970"/>
            <a:ext cx="5368274" cy="769441"/>
          </a:xfrm>
          <a:prstGeom prst="rect">
            <a:avLst/>
          </a:prstGeom>
          <a:noFill/>
        </p:spPr>
        <p:txBody>
          <a:bodyPr wrap="square" rtlCol="0">
            <a:spAutoFit/>
          </a:bodyPr>
          <a:lstStyle/>
          <a:p>
            <a:r>
              <a:rPr lang="en-US" sz="1600" b="1" dirty="0">
                <a:solidFill>
                  <a:schemeClr val="accent1"/>
                </a:solidFill>
                <a:latin typeface="Arial" panose="020B0604020202020204" pitchFamily="34" charset="0"/>
                <a:cs typeface="Arial" panose="020B0604020202020204" pitchFamily="34" charset="0"/>
              </a:rPr>
              <a:t>8,495</a:t>
            </a:r>
            <a:r>
              <a:rPr lang="en-US" sz="1600" dirty="0">
                <a:latin typeface="Arial" panose="020B0604020202020204" pitchFamily="34" charset="0"/>
                <a:cs typeface="Arial" panose="020B0604020202020204" pitchFamily="34" charset="0"/>
              </a:rPr>
              <a:t> Permanent and Construction </a:t>
            </a:r>
            <a:r>
              <a:rPr lang="en-US" sz="1600" b="1" dirty="0">
                <a:solidFill>
                  <a:schemeClr val="accent1"/>
                </a:solidFill>
                <a:latin typeface="Arial" panose="020B0604020202020204" pitchFamily="34" charset="0"/>
                <a:cs typeface="Arial" panose="020B0604020202020204" pitchFamily="34" charset="0"/>
              </a:rPr>
              <a:t>Jobs Created</a:t>
            </a:r>
          </a:p>
          <a:p>
            <a:r>
              <a:rPr lang="en-US" sz="1400" b="1" dirty="0">
                <a:solidFill>
                  <a:schemeClr val="accent1"/>
                </a:solidFill>
                <a:latin typeface="Arial" panose="020B0604020202020204" pitchFamily="34" charset="0"/>
                <a:cs typeface="Arial" panose="020B0604020202020204" pitchFamily="34" charset="0"/>
              </a:rPr>
              <a:t>$127M</a:t>
            </a:r>
            <a:r>
              <a:rPr lang="en-US" sz="1400" b="1" dirty="0">
                <a:solidFill>
                  <a:schemeClr val="accent2"/>
                </a:solidFill>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Total Direct Investments in Clean Energy Workforce to Date </a:t>
            </a:r>
          </a:p>
        </p:txBody>
      </p:sp>
      <p:sp>
        <p:nvSpPr>
          <p:cNvPr id="36" name="TextBox 35">
            <a:extLst>
              <a:ext uri="{FF2B5EF4-FFF2-40B4-BE49-F238E27FC236}">
                <a16:creationId xmlns:a16="http://schemas.microsoft.com/office/drawing/2014/main" id="{0EB9E17D-B17D-DDD8-2D1E-7F132EE19BAE}"/>
              </a:ext>
            </a:extLst>
          </p:cNvPr>
          <p:cNvSpPr txBox="1"/>
          <p:nvPr/>
        </p:nvSpPr>
        <p:spPr>
          <a:xfrm>
            <a:off x="385184" y="792638"/>
            <a:ext cx="7341632" cy="369332"/>
          </a:xfrm>
          <a:prstGeom prst="rect">
            <a:avLst/>
          </a:prstGeom>
          <a:noFill/>
        </p:spPr>
        <p:txBody>
          <a:bodyPr wrap="square" rtlCol="0">
            <a:spAutoFit/>
          </a:bodyPr>
          <a:lstStyle/>
          <a:p>
            <a:r>
              <a:rPr lang="en-US" i="1" dirty="0">
                <a:latin typeface="Figtree" pitchFamily="2" charset="0"/>
                <a:cs typeface="Arial" panose="020B0604020202020204" pitchFamily="34" charset="0"/>
              </a:rPr>
              <a:t>Keeping the lights on today. Training the workforce for tomorrow.</a:t>
            </a:r>
          </a:p>
        </p:txBody>
      </p:sp>
      <p:grpSp>
        <p:nvGrpSpPr>
          <p:cNvPr id="43" name="Group 42">
            <a:extLst>
              <a:ext uri="{FF2B5EF4-FFF2-40B4-BE49-F238E27FC236}">
                <a16:creationId xmlns:a16="http://schemas.microsoft.com/office/drawing/2014/main" id="{8DEA2FF0-F8DB-6B7B-E7CF-EDD9EA1130A9}"/>
              </a:ext>
            </a:extLst>
          </p:cNvPr>
          <p:cNvGrpSpPr/>
          <p:nvPr/>
        </p:nvGrpSpPr>
        <p:grpSpPr>
          <a:xfrm>
            <a:off x="385184" y="3424580"/>
            <a:ext cx="5581050" cy="1075373"/>
            <a:chOff x="491570" y="3547366"/>
            <a:chExt cx="5581050" cy="1075373"/>
          </a:xfrm>
        </p:grpSpPr>
        <p:sp>
          <p:nvSpPr>
            <p:cNvPr id="24" name="Rounded Rectangle 23">
              <a:extLst>
                <a:ext uri="{FF2B5EF4-FFF2-40B4-BE49-F238E27FC236}">
                  <a16:creationId xmlns:a16="http://schemas.microsoft.com/office/drawing/2014/main" id="{792B6E0C-4EE8-479B-3042-602AF1B1B990}"/>
                </a:ext>
              </a:extLst>
            </p:cNvPr>
            <p:cNvSpPr/>
            <p:nvPr/>
          </p:nvSpPr>
          <p:spPr>
            <a:xfrm>
              <a:off x="491570" y="3547366"/>
              <a:ext cx="5581050" cy="1075373"/>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E944FBF-E66A-7625-B299-E4B790298D83}"/>
                </a:ext>
              </a:extLst>
            </p:cNvPr>
            <p:cNvSpPr txBox="1"/>
            <p:nvPr/>
          </p:nvSpPr>
          <p:spPr>
            <a:xfrm>
              <a:off x="1463147" y="3846525"/>
              <a:ext cx="2615685" cy="477054"/>
            </a:xfrm>
            <a:prstGeom prst="rect">
              <a:avLst/>
            </a:prstGeom>
            <a:noFill/>
          </p:spPr>
          <p:txBody>
            <a:bodyPr wrap="square" rtlCol="0">
              <a:spAutoFit/>
            </a:bodyPr>
            <a:lstStyle/>
            <a:p>
              <a:r>
                <a:rPr lang="en-US" sz="2400" b="1" dirty="0">
                  <a:solidFill>
                    <a:schemeClr val="accent3"/>
                  </a:solidFill>
                  <a:latin typeface="Figtree" pitchFamily="2" charset="0"/>
                </a:rPr>
                <a:t>Manufacturing</a:t>
              </a:r>
            </a:p>
          </p:txBody>
        </p:sp>
        <p:sp>
          <p:nvSpPr>
            <p:cNvPr id="18" name="Graphic 7">
              <a:extLst>
                <a:ext uri="{FF2B5EF4-FFF2-40B4-BE49-F238E27FC236}">
                  <a16:creationId xmlns:a16="http://schemas.microsoft.com/office/drawing/2014/main" id="{E14A1564-7DD6-D6E2-3713-A516A4869BE7}"/>
                </a:ext>
              </a:extLst>
            </p:cNvPr>
            <p:cNvSpPr/>
            <p:nvPr/>
          </p:nvSpPr>
          <p:spPr>
            <a:xfrm>
              <a:off x="678070" y="3723271"/>
              <a:ext cx="723562" cy="723562"/>
            </a:xfrm>
            <a:custGeom>
              <a:avLst/>
              <a:gdLst>
                <a:gd name="connsiteX0" fmla="*/ 247557 w 495113"/>
                <a:gd name="connsiteY0" fmla="*/ 0 h 495113"/>
                <a:gd name="connsiteX1" fmla="*/ 0 w 495113"/>
                <a:gd name="connsiteY1" fmla="*/ 247557 h 495113"/>
                <a:gd name="connsiteX2" fmla="*/ 247557 w 495113"/>
                <a:gd name="connsiteY2" fmla="*/ 495113 h 495113"/>
                <a:gd name="connsiteX3" fmla="*/ 495113 w 495113"/>
                <a:gd name="connsiteY3" fmla="*/ 247557 h 495113"/>
                <a:gd name="connsiteX4" fmla="*/ 247557 w 495113"/>
                <a:gd name="connsiteY4" fmla="*/ 0 h 495113"/>
                <a:gd name="connsiteX5" fmla="*/ 247557 w 495113"/>
                <a:gd name="connsiteY5" fmla="*/ 486235 h 495113"/>
                <a:gd name="connsiteX6" fmla="*/ 8878 w 495113"/>
                <a:gd name="connsiteY6" fmla="*/ 247557 h 495113"/>
                <a:gd name="connsiteX7" fmla="*/ 247557 w 495113"/>
                <a:gd name="connsiteY7" fmla="*/ 8878 h 495113"/>
                <a:gd name="connsiteX8" fmla="*/ 486235 w 495113"/>
                <a:gd name="connsiteY8" fmla="*/ 247557 h 495113"/>
                <a:gd name="connsiteX9" fmla="*/ 247557 w 495113"/>
                <a:gd name="connsiteY9" fmla="*/ 486235 h 495113"/>
                <a:gd name="connsiteX10" fmla="*/ 364933 w 495113"/>
                <a:gd name="connsiteY10" fmla="*/ 207559 h 495113"/>
                <a:gd name="connsiteX11" fmla="*/ 315964 w 495113"/>
                <a:gd name="connsiteY11" fmla="*/ 207559 h 495113"/>
                <a:gd name="connsiteX12" fmla="*/ 315964 w 495113"/>
                <a:gd name="connsiteY12" fmla="*/ 146067 h 495113"/>
                <a:gd name="connsiteX13" fmla="*/ 293722 w 495113"/>
                <a:gd name="connsiteY13" fmla="*/ 123825 h 495113"/>
                <a:gd name="connsiteX14" fmla="*/ 255313 w 495113"/>
                <a:gd name="connsiteY14" fmla="*/ 123825 h 495113"/>
                <a:gd name="connsiteX15" fmla="*/ 233071 w 495113"/>
                <a:gd name="connsiteY15" fmla="*/ 146067 h 495113"/>
                <a:gd name="connsiteX16" fmla="*/ 233071 w 495113"/>
                <a:gd name="connsiteY16" fmla="*/ 165598 h 495113"/>
                <a:gd name="connsiteX17" fmla="*/ 205222 w 495113"/>
                <a:gd name="connsiteY17" fmla="*/ 165598 h 495113"/>
                <a:gd name="connsiteX18" fmla="*/ 205222 w 495113"/>
                <a:gd name="connsiteY18" fmla="*/ 134385 h 495113"/>
                <a:gd name="connsiteX19" fmla="*/ 194662 w 495113"/>
                <a:gd name="connsiteY19" fmla="*/ 123825 h 495113"/>
                <a:gd name="connsiteX20" fmla="*/ 184102 w 495113"/>
                <a:gd name="connsiteY20" fmla="*/ 134385 h 495113"/>
                <a:gd name="connsiteX21" fmla="*/ 184102 w 495113"/>
                <a:gd name="connsiteY21" fmla="*/ 165598 h 495113"/>
                <a:gd name="connsiteX22" fmla="*/ 156253 w 495113"/>
                <a:gd name="connsiteY22" fmla="*/ 165598 h 495113"/>
                <a:gd name="connsiteX23" fmla="*/ 156253 w 495113"/>
                <a:gd name="connsiteY23" fmla="*/ 134385 h 495113"/>
                <a:gd name="connsiteX24" fmla="*/ 145693 w 495113"/>
                <a:gd name="connsiteY24" fmla="*/ 123825 h 495113"/>
                <a:gd name="connsiteX25" fmla="*/ 135133 w 495113"/>
                <a:gd name="connsiteY25" fmla="*/ 134385 h 495113"/>
                <a:gd name="connsiteX26" fmla="*/ 135133 w 495113"/>
                <a:gd name="connsiteY26" fmla="*/ 165598 h 495113"/>
                <a:gd name="connsiteX27" fmla="*/ 130180 w 495113"/>
                <a:gd name="connsiteY27" fmla="*/ 165598 h 495113"/>
                <a:gd name="connsiteX28" fmla="*/ 107938 w 495113"/>
                <a:gd name="connsiteY28" fmla="*/ 187840 h 495113"/>
                <a:gd name="connsiteX29" fmla="*/ 107938 w 495113"/>
                <a:gd name="connsiteY29" fmla="*/ 324936 h 495113"/>
                <a:gd name="connsiteX30" fmla="*/ 130180 w 495113"/>
                <a:gd name="connsiteY30" fmla="*/ 347177 h 495113"/>
                <a:gd name="connsiteX31" fmla="*/ 365027 w 495113"/>
                <a:gd name="connsiteY31" fmla="*/ 347177 h 495113"/>
                <a:gd name="connsiteX32" fmla="*/ 387269 w 495113"/>
                <a:gd name="connsiteY32" fmla="*/ 324936 h 495113"/>
                <a:gd name="connsiteX33" fmla="*/ 387269 w 495113"/>
                <a:gd name="connsiteY33" fmla="*/ 229801 h 495113"/>
                <a:gd name="connsiteX34" fmla="*/ 365027 w 495113"/>
                <a:gd name="connsiteY34" fmla="*/ 207559 h 495113"/>
                <a:gd name="connsiteX35" fmla="*/ 163169 w 495113"/>
                <a:gd name="connsiteY35" fmla="*/ 298675 h 495113"/>
                <a:gd name="connsiteX36" fmla="*/ 155973 w 495113"/>
                <a:gd name="connsiteY36" fmla="*/ 305871 h 495113"/>
                <a:gd name="connsiteX37" fmla="*/ 141955 w 495113"/>
                <a:gd name="connsiteY37" fmla="*/ 305871 h 495113"/>
                <a:gd name="connsiteX38" fmla="*/ 134759 w 495113"/>
                <a:gd name="connsiteY38" fmla="*/ 298675 h 495113"/>
                <a:gd name="connsiteX39" fmla="*/ 134759 w 495113"/>
                <a:gd name="connsiteY39" fmla="*/ 284657 h 495113"/>
                <a:gd name="connsiteX40" fmla="*/ 141955 w 495113"/>
                <a:gd name="connsiteY40" fmla="*/ 277461 h 495113"/>
                <a:gd name="connsiteX41" fmla="*/ 155973 w 495113"/>
                <a:gd name="connsiteY41" fmla="*/ 277461 h 495113"/>
                <a:gd name="connsiteX42" fmla="*/ 163169 w 495113"/>
                <a:gd name="connsiteY42" fmla="*/ 284657 h 495113"/>
                <a:gd name="connsiteX43" fmla="*/ 163169 w 495113"/>
                <a:gd name="connsiteY43" fmla="*/ 298675 h 495113"/>
                <a:gd name="connsiteX44" fmla="*/ 163169 w 495113"/>
                <a:gd name="connsiteY44" fmla="*/ 256715 h 495113"/>
                <a:gd name="connsiteX45" fmla="*/ 155973 w 495113"/>
                <a:gd name="connsiteY45" fmla="*/ 263911 h 495113"/>
                <a:gd name="connsiteX46" fmla="*/ 141955 w 495113"/>
                <a:gd name="connsiteY46" fmla="*/ 263911 h 495113"/>
                <a:gd name="connsiteX47" fmla="*/ 134759 w 495113"/>
                <a:gd name="connsiteY47" fmla="*/ 256715 h 495113"/>
                <a:gd name="connsiteX48" fmla="*/ 134759 w 495113"/>
                <a:gd name="connsiteY48" fmla="*/ 242697 h 495113"/>
                <a:gd name="connsiteX49" fmla="*/ 141955 w 495113"/>
                <a:gd name="connsiteY49" fmla="*/ 235501 h 495113"/>
                <a:gd name="connsiteX50" fmla="*/ 155973 w 495113"/>
                <a:gd name="connsiteY50" fmla="*/ 235501 h 495113"/>
                <a:gd name="connsiteX51" fmla="*/ 163169 w 495113"/>
                <a:gd name="connsiteY51" fmla="*/ 242697 h 495113"/>
                <a:gd name="connsiteX52" fmla="*/ 163169 w 495113"/>
                <a:gd name="connsiteY52" fmla="*/ 256715 h 495113"/>
                <a:gd name="connsiteX53" fmla="*/ 163169 w 495113"/>
                <a:gd name="connsiteY53" fmla="*/ 214848 h 495113"/>
                <a:gd name="connsiteX54" fmla="*/ 155973 w 495113"/>
                <a:gd name="connsiteY54" fmla="*/ 222044 h 495113"/>
                <a:gd name="connsiteX55" fmla="*/ 141955 w 495113"/>
                <a:gd name="connsiteY55" fmla="*/ 222044 h 495113"/>
                <a:gd name="connsiteX56" fmla="*/ 134759 w 495113"/>
                <a:gd name="connsiteY56" fmla="*/ 214848 h 495113"/>
                <a:gd name="connsiteX57" fmla="*/ 134759 w 495113"/>
                <a:gd name="connsiteY57" fmla="*/ 200830 h 495113"/>
                <a:gd name="connsiteX58" fmla="*/ 141955 w 495113"/>
                <a:gd name="connsiteY58" fmla="*/ 193634 h 495113"/>
                <a:gd name="connsiteX59" fmla="*/ 155973 w 495113"/>
                <a:gd name="connsiteY59" fmla="*/ 193634 h 495113"/>
                <a:gd name="connsiteX60" fmla="*/ 163169 w 495113"/>
                <a:gd name="connsiteY60" fmla="*/ 200830 h 495113"/>
                <a:gd name="connsiteX61" fmla="*/ 163169 w 495113"/>
                <a:gd name="connsiteY61" fmla="*/ 214848 h 495113"/>
                <a:gd name="connsiteX62" fmla="*/ 219427 w 495113"/>
                <a:gd name="connsiteY62" fmla="*/ 298675 h 495113"/>
                <a:gd name="connsiteX63" fmla="*/ 212231 w 495113"/>
                <a:gd name="connsiteY63" fmla="*/ 305871 h 495113"/>
                <a:gd name="connsiteX64" fmla="*/ 198213 w 495113"/>
                <a:gd name="connsiteY64" fmla="*/ 305871 h 495113"/>
                <a:gd name="connsiteX65" fmla="*/ 191018 w 495113"/>
                <a:gd name="connsiteY65" fmla="*/ 298675 h 495113"/>
                <a:gd name="connsiteX66" fmla="*/ 191018 w 495113"/>
                <a:gd name="connsiteY66" fmla="*/ 284657 h 495113"/>
                <a:gd name="connsiteX67" fmla="*/ 198213 w 495113"/>
                <a:gd name="connsiteY67" fmla="*/ 277461 h 495113"/>
                <a:gd name="connsiteX68" fmla="*/ 212231 w 495113"/>
                <a:gd name="connsiteY68" fmla="*/ 277461 h 495113"/>
                <a:gd name="connsiteX69" fmla="*/ 219427 w 495113"/>
                <a:gd name="connsiteY69" fmla="*/ 284657 h 495113"/>
                <a:gd name="connsiteX70" fmla="*/ 219427 w 495113"/>
                <a:gd name="connsiteY70" fmla="*/ 298675 h 495113"/>
                <a:gd name="connsiteX71" fmla="*/ 219427 w 495113"/>
                <a:gd name="connsiteY71" fmla="*/ 256715 h 495113"/>
                <a:gd name="connsiteX72" fmla="*/ 212231 w 495113"/>
                <a:gd name="connsiteY72" fmla="*/ 263911 h 495113"/>
                <a:gd name="connsiteX73" fmla="*/ 198213 w 495113"/>
                <a:gd name="connsiteY73" fmla="*/ 263911 h 495113"/>
                <a:gd name="connsiteX74" fmla="*/ 191018 w 495113"/>
                <a:gd name="connsiteY74" fmla="*/ 256715 h 495113"/>
                <a:gd name="connsiteX75" fmla="*/ 191018 w 495113"/>
                <a:gd name="connsiteY75" fmla="*/ 242697 h 495113"/>
                <a:gd name="connsiteX76" fmla="*/ 198213 w 495113"/>
                <a:gd name="connsiteY76" fmla="*/ 235501 h 495113"/>
                <a:gd name="connsiteX77" fmla="*/ 212231 w 495113"/>
                <a:gd name="connsiteY77" fmla="*/ 235501 h 495113"/>
                <a:gd name="connsiteX78" fmla="*/ 219427 w 495113"/>
                <a:gd name="connsiteY78" fmla="*/ 242697 h 495113"/>
                <a:gd name="connsiteX79" fmla="*/ 219427 w 495113"/>
                <a:gd name="connsiteY79" fmla="*/ 256715 h 495113"/>
                <a:gd name="connsiteX80" fmla="*/ 219427 w 495113"/>
                <a:gd name="connsiteY80" fmla="*/ 214848 h 495113"/>
                <a:gd name="connsiteX81" fmla="*/ 212231 w 495113"/>
                <a:gd name="connsiteY81" fmla="*/ 222044 h 495113"/>
                <a:gd name="connsiteX82" fmla="*/ 198213 w 495113"/>
                <a:gd name="connsiteY82" fmla="*/ 222044 h 495113"/>
                <a:gd name="connsiteX83" fmla="*/ 191018 w 495113"/>
                <a:gd name="connsiteY83" fmla="*/ 214848 h 495113"/>
                <a:gd name="connsiteX84" fmla="*/ 191018 w 495113"/>
                <a:gd name="connsiteY84" fmla="*/ 200830 h 495113"/>
                <a:gd name="connsiteX85" fmla="*/ 198213 w 495113"/>
                <a:gd name="connsiteY85" fmla="*/ 193634 h 495113"/>
                <a:gd name="connsiteX86" fmla="*/ 212231 w 495113"/>
                <a:gd name="connsiteY86" fmla="*/ 193634 h 495113"/>
                <a:gd name="connsiteX87" fmla="*/ 219427 w 495113"/>
                <a:gd name="connsiteY87" fmla="*/ 200830 h 495113"/>
                <a:gd name="connsiteX88" fmla="*/ 219427 w 495113"/>
                <a:gd name="connsiteY88" fmla="*/ 214848 h 495113"/>
                <a:gd name="connsiteX89" fmla="*/ 288769 w 495113"/>
                <a:gd name="connsiteY89" fmla="*/ 256435 h 495113"/>
                <a:gd name="connsiteX90" fmla="*/ 281573 w 495113"/>
                <a:gd name="connsiteY90" fmla="*/ 263630 h 495113"/>
                <a:gd name="connsiteX91" fmla="*/ 267555 w 495113"/>
                <a:gd name="connsiteY91" fmla="*/ 263630 h 495113"/>
                <a:gd name="connsiteX92" fmla="*/ 260360 w 495113"/>
                <a:gd name="connsiteY92" fmla="*/ 256435 h 495113"/>
                <a:gd name="connsiteX93" fmla="*/ 260360 w 495113"/>
                <a:gd name="connsiteY93" fmla="*/ 242417 h 495113"/>
                <a:gd name="connsiteX94" fmla="*/ 267555 w 495113"/>
                <a:gd name="connsiteY94" fmla="*/ 235221 h 495113"/>
                <a:gd name="connsiteX95" fmla="*/ 281573 w 495113"/>
                <a:gd name="connsiteY95" fmla="*/ 235221 h 495113"/>
                <a:gd name="connsiteX96" fmla="*/ 288769 w 495113"/>
                <a:gd name="connsiteY96" fmla="*/ 242417 h 495113"/>
                <a:gd name="connsiteX97" fmla="*/ 288769 w 495113"/>
                <a:gd name="connsiteY97" fmla="*/ 256435 h 495113"/>
                <a:gd name="connsiteX98" fmla="*/ 288769 w 495113"/>
                <a:gd name="connsiteY98" fmla="*/ 214568 h 495113"/>
                <a:gd name="connsiteX99" fmla="*/ 281573 w 495113"/>
                <a:gd name="connsiteY99" fmla="*/ 221764 h 495113"/>
                <a:gd name="connsiteX100" fmla="*/ 267555 w 495113"/>
                <a:gd name="connsiteY100" fmla="*/ 221764 h 495113"/>
                <a:gd name="connsiteX101" fmla="*/ 260360 w 495113"/>
                <a:gd name="connsiteY101" fmla="*/ 214568 h 495113"/>
                <a:gd name="connsiteX102" fmla="*/ 260360 w 495113"/>
                <a:gd name="connsiteY102" fmla="*/ 200550 h 495113"/>
                <a:gd name="connsiteX103" fmla="*/ 267555 w 495113"/>
                <a:gd name="connsiteY103" fmla="*/ 193354 h 495113"/>
                <a:gd name="connsiteX104" fmla="*/ 281573 w 495113"/>
                <a:gd name="connsiteY104" fmla="*/ 193354 h 495113"/>
                <a:gd name="connsiteX105" fmla="*/ 288769 w 495113"/>
                <a:gd name="connsiteY105" fmla="*/ 200550 h 495113"/>
                <a:gd name="connsiteX106" fmla="*/ 288769 w 495113"/>
                <a:gd name="connsiteY106" fmla="*/ 214568 h 495113"/>
                <a:gd name="connsiteX107" fmla="*/ 288769 w 495113"/>
                <a:gd name="connsiteY107" fmla="*/ 172607 h 495113"/>
                <a:gd name="connsiteX108" fmla="*/ 281573 w 495113"/>
                <a:gd name="connsiteY108" fmla="*/ 179803 h 495113"/>
                <a:gd name="connsiteX109" fmla="*/ 267555 w 495113"/>
                <a:gd name="connsiteY109" fmla="*/ 179803 h 495113"/>
                <a:gd name="connsiteX110" fmla="*/ 260360 w 495113"/>
                <a:gd name="connsiteY110" fmla="*/ 172607 h 495113"/>
                <a:gd name="connsiteX111" fmla="*/ 260360 w 495113"/>
                <a:gd name="connsiteY111" fmla="*/ 158589 h 495113"/>
                <a:gd name="connsiteX112" fmla="*/ 267555 w 495113"/>
                <a:gd name="connsiteY112" fmla="*/ 151394 h 495113"/>
                <a:gd name="connsiteX113" fmla="*/ 281573 w 495113"/>
                <a:gd name="connsiteY113" fmla="*/ 151394 h 495113"/>
                <a:gd name="connsiteX114" fmla="*/ 288769 w 495113"/>
                <a:gd name="connsiteY114" fmla="*/ 158589 h 495113"/>
                <a:gd name="connsiteX115" fmla="*/ 288769 w 495113"/>
                <a:gd name="connsiteY115" fmla="*/ 172607 h 495113"/>
                <a:gd name="connsiteX116" fmla="*/ 359607 w 495113"/>
                <a:gd name="connsiteY116" fmla="*/ 298675 h 495113"/>
                <a:gd name="connsiteX117" fmla="*/ 352411 w 495113"/>
                <a:gd name="connsiteY117" fmla="*/ 305871 h 495113"/>
                <a:gd name="connsiteX118" fmla="*/ 338393 w 495113"/>
                <a:gd name="connsiteY118" fmla="*/ 305871 h 495113"/>
                <a:gd name="connsiteX119" fmla="*/ 331197 w 495113"/>
                <a:gd name="connsiteY119" fmla="*/ 298675 h 495113"/>
                <a:gd name="connsiteX120" fmla="*/ 331197 w 495113"/>
                <a:gd name="connsiteY120" fmla="*/ 284657 h 495113"/>
                <a:gd name="connsiteX121" fmla="*/ 338393 w 495113"/>
                <a:gd name="connsiteY121" fmla="*/ 277461 h 495113"/>
                <a:gd name="connsiteX122" fmla="*/ 352411 w 495113"/>
                <a:gd name="connsiteY122" fmla="*/ 277461 h 495113"/>
                <a:gd name="connsiteX123" fmla="*/ 359607 w 495113"/>
                <a:gd name="connsiteY123" fmla="*/ 284657 h 495113"/>
                <a:gd name="connsiteX124" fmla="*/ 359607 w 495113"/>
                <a:gd name="connsiteY124" fmla="*/ 298675 h 495113"/>
                <a:gd name="connsiteX125" fmla="*/ 359607 w 495113"/>
                <a:gd name="connsiteY125" fmla="*/ 256715 h 495113"/>
                <a:gd name="connsiteX126" fmla="*/ 352411 w 495113"/>
                <a:gd name="connsiteY126" fmla="*/ 263911 h 495113"/>
                <a:gd name="connsiteX127" fmla="*/ 338393 w 495113"/>
                <a:gd name="connsiteY127" fmla="*/ 263911 h 495113"/>
                <a:gd name="connsiteX128" fmla="*/ 331197 w 495113"/>
                <a:gd name="connsiteY128" fmla="*/ 256715 h 495113"/>
                <a:gd name="connsiteX129" fmla="*/ 331197 w 495113"/>
                <a:gd name="connsiteY129" fmla="*/ 242697 h 495113"/>
                <a:gd name="connsiteX130" fmla="*/ 338393 w 495113"/>
                <a:gd name="connsiteY130" fmla="*/ 235501 h 495113"/>
                <a:gd name="connsiteX131" fmla="*/ 352411 w 495113"/>
                <a:gd name="connsiteY131" fmla="*/ 235501 h 495113"/>
                <a:gd name="connsiteX132" fmla="*/ 359607 w 495113"/>
                <a:gd name="connsiteY132" fmla="*/ 242697 h 495113"/>
                <a:gd name="connsiteX133" fmla="*/ 359607 w 495113"/>
                <a:gd name="connsiteY133" fmla="*/ 256715 h 49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495113" h="495113">
                  <a:moveTo>
                    <a:pt x="247557" y="0"/>
                  </a:moveTo>
                  <a:cubicBezTo>
                    <a:pt x="111022" y="0"/>
                    <a:pt x="0" y="111022"/>
                    <a:pt x="0" y="247557"/>
                  </a:cubicBezTo>
                  <a:cubicBezTo>
                    <a:pt x="0" y="384091"/>
                    <a:pt x="111022" y="495113"/>
                    <a:pt x="247557" y="495113"/>
                  </a:cubicBezTo>
                  <a:cubicBezTo>
                    <a:pt x="384091" y="495113"/>
                    <a:pt x="495113" y="384091"/>
                    <a:pt x="495113" y="247557"/>
                  </a:cubicBezTo>
                  <a:cubicBezTo>
                    <a:pt x="495113" y="111022"/>
                    <a:pt x="384091" y="0"/>
                    <a:pt x="247557" y="0"/>
                  </a:cubicBezTo>
                  <a:close/>
                  <a:moveTo>
                    <a:pt x="247557" y="486235"/>
                  </a:moveTo>
                  <a:cubicBezTo>
                    <a:pt x="115882" y="486235"/>
                    <a:pt x="8878" y="379138"/>
                    <a:pt x="8878" y="247557"/>
                  </a:cubicBezTo>
                  <a:cubicBezTo>
                    <a:pt x="8878" y="115975"/>
                    <a:pt x="115882" y="8878"/>
                    <a:pt x="247557" y="8878"/>
                  </a:cubicBezTo>
                  <a:cubicBezTo>
                    <a:pt x="379232" y="8878"/>
                    <a:pt x="486235" y="115975"/>
                    <a:pt x="486235" y="247557"/>
                  </a:cubicBezTo>
                  <a:cubicBezTo>
                    <a:pt x="486235" y="379138"/>
                    <a:pt x="379138" y="486235"/>
                    <a:pt x="247557" y="486235"/>
                  </a:cubicBezTo>
                  <a:close/>
                  <a:moveTo>
                    <a:pt x="364933" y="207559"/>
                  </a:moveTo>
                  <a:lnTo>
                    <a:pt x="315964" y="207559"/>
                  </a:lnTo>
                  <a:lnTo>
                    <a:pt x="315964" y="146067"/>
                  </a:lnTo>
                  <a:cubicBezTo>
                    <a:pt x="315964" y="133731"/>
                    <a:pt x="305965" y="123825"/>
                    <a:pt x="293722" y="123825"/>
                  </a:cubicBezTo>
                  <a:lnTo>
                    <a:pt x="255313" y="123825"/>
                  </a:lnTo>
                  <a:cubicBezTo>
                    <a:pt x="242977" y="123825"/>
                    <a:pt x="233071" y="133824"/>
                    <a:pt x="233071" y="146067"/>
                  </a:cubicBezTo>
                  <a:lnTo>
                    <a:pt x="233071" y="165598"/>
                  </a:lnTo>
                  <a:lnTo>
                    <a:pt x="205222" y="165598"/>
                  </a:lnTo>
                  <a:lnTo>
                    <a:pt x="205222" y="134385"/>
                  </a:lnTo>
                  <a:cubicBezTo>
                    <a:pt x="205222" y="128591"/>
                    <a:pt x="200456" y="123825"/>
                    <a:pt x="194662" y="123825"/>
                  </a:cubicBezTo>
                  <a:cubicBezTo>
                    <a:pt x="188868" y="123825"/>
                    <a:pt x="184102" y="128591"/>
                    <a:pt x="184102" y="134385"/>
                  </a:cubicBezTo>
                  <a:lnTo>
                    <a:pt x="184102" y="165598"/>
                  </a:lnTo>
                  <a:lnTo>
                    <a:pt x="156253" y="165598"/>
                  </a:lnTo>
                  <a:lnTo>
                    <a:pt x="156253" y="134385"/>
                  </a:lnTo>
                  <a:cubicBezTo>
                    <a:pt x="156253" y="128591"/>
                    <a:pt x="151487" y="123825"/>
                    <a:pt x="145693" y="123825"/>
                  </a:cubicBezTo>
                  <a:cubicBezTo>
                    <a:pt x="139899" y="123825"/>
                    <a:pt x="135133" y="128591"/>
                    <a:pt x="135133" y="134385"/>
                  </a:cubicBezTo>
                  <a:lnTo>
                    <a:pt x="135133" y="165598"/>
                  </a:lnTo>
                  <a:lnTo>
                    <a:pt x="130180" y="165598"/>
                  </a:lnTo>
                  <a:cubicBezTo>
                    <a:pt x="117844" y="165598"/>
                    <a:pt x="107938" y="175598"/>
                    <a:pt x="107938" y="187840"/>
                  </a:cubicBezTo>
                  <a:lnTo>
                    <a:pt x="107938" y="324936"/>
                  </a:lnTo>
                  <a:cubicBezTo>
                    <a:pt x="107938" y="337271"/>
                    <a:pt x="117937" y="347177"/>
                    <a:pt x="130180" y="347177"/>
                  </a:cubicBezTo>
                  <a:lnTo>
                    <a:pt x="365027" y="347177"/>
                  </a:lnTo>
                  <a:cubicBezTo>
                    <a:pt x="377363" y="347177"/>
                    <a:pt x="387269" y="337178"/>
                    <a:pt x="387269" y="324936"/>
                  </a:cubicBezTo>
                  <a:lnTo>
                    <a:pt x="387269" y="229801"/>
                  </a:lnTo>
                  <a:cubicBezTo>
                    <a:pt x="387269" y="217465"/>
                    <a:pt x="377269" y="207559"/>
                    <a:pt x="365027" y="207559"/>
                  </a:cubicBezTo>
                  <a:close/>
                  <a:moveTo>
                    <a:pt x="163169" y="298675"/>
                  </a:moveTo>
                  <a:cubicBezTo>
                    <a:pt x="163169" y="302694"/>
                    <a:pt x="159898" y="305871"/>
                    <a:pt x="155973" y="305871"/>
                  </a:cubicBezTo>
                  <a:lnTo>
                    <a:pt x="141955" y="305871"/>
                  </a:lnTo>
                  <a:cubicBezTo>
                    <a:pt x="137936" y="305871"/>
                    <a:pt x="134759" y="302600"/>
                    <a:pt x="134759" y="298675"/>
                  </a:cubicBezTo>
                  <a:lnTo>
                    <a:pt x="134759" y="284657"/>
                  </a:lnTo>
                  <a:cubicBezTo>
                    <a:pt x="134759" y="280639"/>
                    <a:pt x="138030" y="277461"/>
                    <a:pt x="141955" y="277461"/>
                  </a:cubicBezTo>
                  <a:lnTo>
                    <a:pt x="155973" y="277461"/>
                  </a:lnTo>
                  <a:cubicBezTo>
                    <a:pt x="159991" y="277461"/>
                    <a:pt x="163169" y="280732"/>
                    <a:pt x="163169" y="284657"/>
                  </a:cubicBezTo>
                  <a:lnTo>
                    <a:pt x="163169" y="298675"/>
                  </a:lnTo>
                  <a:close/>
                  <a:moveTo>
                    <a:pt x="163169" y="256715"/>
                  </a:moveTo>
                  <a:cubicBezTo>
                    <a:pt x="163169" y="260733"/>
                    <a:pt x="159898" y="263911"/>
                    <a:pt x="155973" y="263911"/>
                  </a:cubicBezTo>
                  <a:lnTo>
                    <a:pt x="141955" y="263911"/>
                  </a:lnTo>
                  <a:cubicBezTo>
                    <a:pt x="137936" y="263911"/>
                    <a:pt x="134759" y="260640"/>
                    <a:pt x="134759" y="256715"/>
                  </a:cubicBezTo>
                  <a:lnTo>
                    <a:pt x="134759" y="242697"/>
                  </a:lnTo>
                  <a:cubicBezTo>
                    <a:pt x="134759" y="238679"/>
                    <a:pt x="138030" y="235501"/>
                    <a:pt x="141955" y="235501"/>
                  </a:cubicBezTo>
                  <a:lnTo>
                    <a:pt x="155973" y="235501"/>
                  </a:lnTo>
                  <a:cubicBezTo>
                    <a:pt x="159991" y="235501"/>
                    <a:pt x="163169" y="238772"/>
                    <a:pt x="163169" y="242697"/>
                  </a:cubicBezTo>
                  <a:lnTo>
                    <a:pt x="163169" y="256715"/>
                  </a:lnTo>
                  <a:close/>
                  <a:moveTo>
                    <a:pt x="163169" y="214848"/>
                  </a:moveTo>
                  <a:cubicBezTo>
                    <a:pt x="163169" y="218867"/>
                    <a:pt x="159898" y="222044"/>
                    <a:pt x="155973" y="222044"/>
                  </a:cubicBezTo>
                  <a:lnTo>
                    <a:pt x="141955" y="222044"/>
                  </a:lnTo>
                  <a:cubicBezTo>
                    <a:pt x="137936" y="222044"/>
                    <a:pt x="134759" y="218773"/>
                    <a:pt x="134759" y="214848"/>
                  </a:cubicBezTo>
                  <a:lnTo>
                    <a:pt x="134759" y="200830"/>
                  </a:lnTo>
                  <a:cubicBezTo>
                    <a:pt x="134759" y="196812"/>
                    <a:pt x="138030" y="193634"/>
                    <a:pt x="141955" y="193634"/>
                  </a:cubicBezTo>
                  <a:lnTo>
                    <a:pt x="155973" y="193634"/>
                  </a:lnTo>
                  <a:cubicBezTo>
                    <a:pt x="159991" y="193634"/>
                    <a:pt x="163169" y="196905"/>
                    <a:pt x="163169" y="200830"/>
                  </a:cubicBezTo>
                  <a:lnTo>
                    <a:pt x="163169" y="214848"/>
                  </a:lnTo>
                  <a:close/>
                  <a:moveTo>
                    <a:pt x="219427" y="298675"/>
                  </a:moveTo>
                  <a:cubicBezTo>
                    <a:pt x="219427" y="302694"/>
                    <a:pt x="216156" y="305871"/>
                    <a:pt x="212231" y="305871"/>
                  </a:cubicBezTo>
                  <a:lnTo>
                    <a:pt x="198213" y="305871"/>
                  </a:lnTo>
                  <a:cubicBezTo>
                    <a:pt x="194195" y="305871"/>
                    <a:pt x="191018" y="302600"/>
                    <a:pt x="191018" y="298675"/>
                  </a:cubicBezTo>
                  <a:lnTo>
                    <a:pt x="191018" y="284657"/>
                  </a:lnTo>
                  <a:cubicBezTo>
                    <a:pt x="191018" y="280639"/>
                    <a:pt x="194288" y="277461"/>
                    <a:pt x="198213" y="277461"/>
                  </a:cubicBezTo>
                  <a:lnTo>
                    <a:pt x="212231" y="277461"/>
                  </a:lnTo>
                  <a:cubicBezTo>
                    <a:pt x="216250" y="277461"/>
                    <a:pt x="219427" y="280732"/>
                    <a:pt x="219427" y="284657"/>
                  </a:cubicBezTo>
                  <a:lnTo>
                    <a:pt x="219427" y="298675"/>
                  </a:lnTo>
                  <a:close/>
                  <a:moveTo>
                    <a:pt x="219427" y="256715"/>
                  </a:moveTo>
                  <a:cubicBezTo>
                    <a:pt x="219427" y="260733"/>
                    <a:pt x="216156" y="263911"/>
                    <a:pt x="212231" y="263911"/>
                  </a:cubicBezTo>
                  <a:lnTo>
                    <a:pt x="198213" y="263911"/>
                  </a:lnTo>
                  <a:cubicBezTo>
                    <a:pt x="194195" y="263911"/>
                    <a:pt x="191018" y="260640"/>
                    <a:pt x="191018" y="256715"/>
                  </a:cubicBezTo>
                  <a:lnTo>
                    <a:pt x="191018" y="242697"/>
                  </a:lnTo>
                  <a:cubicBezTo>
                    <a:pt x="191018" y="238679"/>
                    <a:pt x="194288" y="235501"/>
                    <a:pt x="198213" y="235501"/>
                  </a:cubicBezTo>
                  <a:lnTo>
                    <a:pt x="212231" y="235501"/>
                  </a:lnTo>
                  <a:cubicBezTo>
                    <a:pt x="216250" y="235501"/>
                    <a:pt x="219427" y="238772"/>
                    <a:pt x="219427" y="242697"/>
                  </a:cubicBezTo>
                  <a:lnTo>
                    <a:pt x="219427" y="256715"/>
                  </a:lnTo>
                  <a:close/>
                  <a:moveTo>
                    <a:pt x="219427" y="214848"/>
                  </a:moveTo>
                  <a:cubicBezTo>
                    <a:pt x="219427" y="218867"/>
                    <a:pt x="216156" y="222044"/>
                    <a:pt x="212231" y="222044"/>
                  </a:cubicBezTo>
                  <a:lnTo>
                    <a:pt x="198213" y="222044"/>
                  </a:lnTo>
                  <a:cubicBezTo>
                    <a:pt x="194195" y="222044"/>
                    <a:pt x="191018" y="218773"/>
                    <a:pt x="191018" y="214848"/>
                  </a:cubicBezTo>
                  <a:lnTo>
                    <a:pt x="191018" y="200830"/>
                  </a:lnTo>
                  <a:cubicBezTo>
                    <a:pt x="191018" y="196812"/>
                    <a:pt x="194288" y="193634"/>
                    <a:pt x="198213" y="193634"/>
                  </a:cubicBezTo>
                  <a:lnTo>
                    <a:pt x="212231" y="193634"/>
                  </a:lnTo>
                  <a:cubicBezTo>
                    <a:pt x="216250" y="193634"/>
                    <a:pt x="219427" y="196905"/>
                    <a:pt x="219427" y="200830"/>
                  </a:cubicBezTo>
                  <a:lnTo>
                    <a:pt x="219427" y="214848"/>
                  </a:lnTo>
                  <a:close/>
                  <a:moveTo>
                    <a:pt x="288769" y="256435"/>
                  </a:moveTo>
                  <a:cubicBezTo>
                    <a:pt x="288769" y="260453"/>
                    <a:pt x="285498" y="263630"/>
                    <a:pt x="281573" y="263630"/>
                  </a:cubicBezTo>
                  <a:lnTo>
                    <a:pt x="267555" y="263630"/>
                  </a:lnTo>
                  <a:cubicBezTo>
                    <a:pt x="263537" y="263630"/>
                    <a:pt x="260360" y="260360"/>
                    <a:pt x="260360" y="256435"/>
                  </a:cubicBezTo>
                  <a:lnTo>
                    <a:pt x="260360" y="242417"/>
                  </a:lnTo>
                  <a:cubicBezTo>
                    <a:pt x="260360" y="238398"/>
                    <a:pt x="263630" y="235221"/>
                    <a:pt x="267555" y="235221"/>
                  </a:cubicBezTo>
                  <a:lnTo>
                    <a:pt x="281573" y="235221"/>
                  </a:lnTo>
                  <a:cubicBezTo>
                    <a:pt x="285592" y="235221"/>
                    <a:pt x="288769" y="238492"/>
                    <a:pt x="288769" y="242417"/>
                  </a:cubicBezTo>
                  <a:lnTo>
                    <a:pt x="288769" y="256435"/>
                  </a:lnTo>
                  <a:close/>
                  <a:moveTo>
                    <a:pt x="288769" y="214568"/>
                  </a:moveTo>
                  <a:cubicBezTo>
                    <a:pt x="288769" y="218586"/>
                    <a:pt x="285498" y="221764"/>
                    <a:pt x="281573" y="221764"/>
                  </a:cubicBezTo>
                  <a:lnTo>
                    <a:pt x="267555" y="221764"/>
                  </a:lnTo>
                  <a:cubicBezTo>
                    <a:pt x="263537" y="221764"/>
                    <a:pt x="260360" y="218493"/>
                    <a:pt x="260360" y="214568"/>
                  </a:cubicBezTo>
                  <a:lnTo>
                    <a:pt x="260360" y="200550"/>
                  </a:lnTo>
                  <a:cubicBezTo>
                    <a:pt x="260360" y="196531"/>
                    <a:pt x="263630" y="193354"/>
                    <a:pt x="267555" y="193354"/>
                  </a:cubicBezTo>
                  <a:lnTo>
                    <a:pt x="281573" y="193354"/>
                  </a:lnTo>
                  <a:cubicBezTo>
                    <a:pt x="285592" y="193354"/>
                    <a:pt x="288769" y="196625"/>
                    <a:pt x="288769" y="200550"/>
                  </a:cubicBezTo>
                  <a:lnTo>
                    <a:pt x="288769" y="214568"/>
                  </a:lnTo>
                  <a:close/>
                  <a:moveTo>
                    <a:pt x="288769" y="172607"/>
                  </a:moveTo>
                  <a:cubicBezTo>
                    <a:pt x="288769" y="176626"/>
                    <a:pt x="285498" y="179803"/>
                    <a:pt x="281573" y="179803"/>
                  </a:cubicBezTo>
                  <a:lnTo>
                    <a:pt x="267555" y="179803"/>
                  </a:lnTo>
                  <a:cubicBezTo>
                    <a:pt x="263537" y="179803"/>
                    <a:pt x="260360" y="176532"/>
                    <a:pt x="260360" y="172607"/>
                  </a:cubicBezTo>
                  <a:lnTo>
                    <a:pt x="260360" y="158589"/>
                  </a:lnTo>
                  <a:cubicBezTo>
                    <a:pt x="260360" y="154571"/>
                    <a:pt x="263630" y="151394"/>
                    <a:pt x="267555" y="151394"/>
                  </a:cubicBezTo>
                  <a:lnTo>
                    <a:pt x="281573" y="151394"/>
                  </a:lnTo>
                  <a:cubicBezTo>
                    <a:pt x="285592" y="151394"/>
                    <a:pt x="288769" y="154664"/>
                    <a:pt x="288769" y="158589"/>
                  </a:cubicBezTo>
                  <a:lnTo>
                    <a:pt x="288769" y="172607"/>
                  </a:lnTo>
                  <a:close/>
                  <a:moveTo>
                    <a:pt x="359607" y="298675"/>
                  </a:moveTo>
                  <a:cubicBezTo>
                    <a:pt x="359607" y="302694"/>
                    <a:pt x="356336" y="305871"/>
                    <a:pt x="352411" y="305871"/>
                  </a:cubicBezTo>
                  <a:lnTo>
                    <a:pt x="338393" y="305871"/>
                  </a:lnTo>
                  <a:cubicBezTo>
                    <a:pt x="334374" y="305871"/>
                    <a:pt x="331197" y="302600"/>
                    <a:pt x="331197" y="298675"/>
                  </a:cubicBezTo>
                  <a:lnTo>
                    <a:pt x="331197" y="284657"/>
                  </a:lnTo>
                  <a:cubicBezTo>
                    <a:pt x="331197" y="280639"/>
                    <a:pt x="334468" y="277461"/>
                    <a:pt x="338393" y="277461"/>
                  </a:cubicBezTo>
                  <a:lnTo>
                    <a:pt x="352411" y="277461"/>
                  </a:lnTo>
                  <a:cubicBezTo>
                    <a:pt x="356429" y="277461"/>
                    <a:pt x="359607" y="280732"/>
                    <a:pt x="359607" y="284657"/>
                  </a:cubicBezTo>
                  <a:lnTo>
                    <a:pt x="359607" y="298675"/>
                  </a:lnTo>
                  <a:close/>
                  <a:moveTo>
                    <a:pt x="359607" y="256715"/>
                  </a:moveTo>
                  <a:cubicBezTo>
                    <a:pt x="359607" y="260733"/>
                    <a:pt x="356336" y="263911"/>
                    <a:pt x="352411" y="263911"/>
                  </a:cubicBezTo>
                  <a:lnTo>
                    <a:pt x="338393" y="263911"/>
                  </a:lnTo>
                  <a:cubicBezTo>
                    <a:pt x="334374" y="263911"/>
                    <a:pt x="331197" y="260640"/>
                    <a:pt x="331197" y="256715"/>
                  </a:cubicBezTo>
                  <a:lnTo>
                    <a:pt x="331197" y="242697"/>
                  </a:lnTo>
                  <a:cubicBezTo>
                    <a:pt x="331197" y="238679"/>
                    <a:pt x="334468" y="235501"/>
                    <a:pt x="338393" y="235501"/>
                  </a:cubicBezTo>
                  <a:lnTo>
                    <a:pt x="352411" y="235501"/>
                  </a:lnTo>
                  <a:cubicBezTo>
                    <a:pt x="356429" y="235501"/>
                    <a:pt x="359607" y="238772"/>
                    <a:pt x="359607" y="242697"/>
                  </a:cubicBezTo>
                  <a:lnTo>
                    <a:pt x="359607" y="256715"/>
                  </a:lnTo>
                  <a:close/>
                </a:path>
              </a:pathLst>
            </a:custGeom>
            <a:solidFill>
              <a:schemeClr val="accent3"/>
            </a:solidFill>
            <a:ln w="9345" cap="flat">
              <a:noFill/>
              <a:prstDash val="solid"/>
              <a:miter/>
            </a:ln>
          </p:spPr>
          <p:txBody>
            <a:bodyPr rtlCol="0" anchor="ctr"/>
            <a:lstStyle/>
            <a:p>
              <a:endParaRPr lang="en-US"/>
            </a:p>
          </p:txBody>
        </p:sp>
        <p:sp>
          <p:nvSpPr>
            <p:cNvPr id="30" name="Freeform 26">
              <a:extLst>
                <a:ext uri="{FF2B5EF4-FFF2-40B4-BE49-F238E27FC236}">
                  <a16:creationId xmlns:a16="http://schemas.microsoft.com/office/drawing/2014/main" id="{EC859FAD-D4B9-074F-74BC-D2C479CEDF37}"/>
                </a:ext>
              </a:extLst>
            </p:cNvPr>
            <p:cNvSpPr>
              <a:spLocks/>
            </p:cNvSpPr>
            <p:nvPr/>
          </p:nvSpPr>
          <p:spPr bwMode="auto">
            <a:xfrm>
              <a:off x="5852418" y="3959559"/>
              <a:ext cx="165100" cy="296863"/>
            </a:xfrm>
            <a:custGeom>
              <a:avLst/>
              <a:gdLst>
                <a:gd name="T0" fmla="*/ 24 w 25"/>
                <a:gd name="T1" fmla="*/ 21 h 45"/>
                <a:gd name="T2" fmla="*/ 4 w 25"/>
                <a:gd name="T3" fmla="*/ 1 h 45"/>
                <a:gd name="T4" fmla="*/ 1 w 25"/>
                <a:gd name="T5" fmla="*/ 0 h 45"/>
                <a:gd name="T6" fmla="*/ 0 w 25"/>
                <a:gd name="T7" fmla="*/ 3 h 45"/>
                <a:gd name="T8" fmla="*/ 0 w 25"/>
                <a:gd name="T9" fmla="*/ 43 h 45"/>
                <a:gd name="T10" fmla="*/ 1 w 25"/>
                <a:gd name="T11" fmla="*/ 45 h 45"/>
                <a:gd name="T12" fmla="*/ 2 w 25"/>
                <a:gd name="T13" fmla="*/ 45 h 45"/>
                <a:gd name="T14" fmla="*/ 4 w 25"/>
                <a:gd name="T15" fmla="*/ 44 h 45"/>
                <a:gd name="T16" fmla="*/ 24 w 25"/>
                <a:gd name="T17" fmla="*/ 24 h 45"/>
                <a:gd name="T18" fmla="*/ 25 w 25"/>
                <a:gd name="T19" fmla="*/ 23 h 45"/>
                <a:gd name="T20" fmla="*/ 24 w 25"/>
                <a:gd name="T2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24" y="21"/>
                  </a:moveTo>
                  <a:cubicBezTo>
                    <a:pt x="4" y="1"/>
                    <a:pt x="4" y="1"/>
                    <a:pt x="4" y="1"/>
                  </a:cubicBezTo>
                  <a:cubicBezTo>
                    <a:pt x="3" y="0"/>
                    <a:pt x="2" y="0"/>
                    <a:pt x="1" y="0"/>
                  </a:cubicBezTo>
                  <a:cubicBezTo>
                    <a:pt x="0" y="1"/>
                    <a:pt x="0" y="2"/>
                    <a:pt x="0" y="3"/>
                  </a:cubicBezTo>
                  <a:cubicBezTo>
                    <a:pt x="0" y="43"/>
                    <a:pt x="0" y="43"/>
                    <a:pt x="0" y="43"/>
                  </a:cubicBezTo>
                  <a:cubicBezTo>
                    <a:pt x="0" y="44"/>
                    <a:pt x="0" y="45"/>
                    <a:pt x="1" y="45"/>
                  </a:cubicBezTo>
                  <a:cubicBezTo>
                    <a:pt x="2" y="45"/>
                    <a:pt x="2" y="45"/>
                    <a:pt x="2" y="45"/>
                  </a:cubicBezTo>
                  <a:cubicBezTo>
                    <a:pt x="3" y="45"/>
                    <a:pt x="3" y="45"/>
                    <a:pt x="4" y="44"/>
                  </a:cubicBezTo>
                  <a:cubicBezTo>
                    <a:pt x="24" y="24"/>
                    <a:pt x="24" y="24"/>
                    <a:pt x="24" y="24"/>
                  </a:cubicBezTo>
                  <a:cubicBezTo>
                    <a:pt x="24" y="24"/>
                    <a:pt x="25" y="23"/>
                    <a:pt x="25" y="23"/>
                  </a:cubicBezTo>
                  <a:cubicBezTo>
                    <a:pt x="25" y="22"/>
                    <a:pt x="24" y="21"/>
                    <a:pt x="24" y="21"/>
                  </a:cubicBezTo>
                  <a:close/>
                </a:path>
              </a:pathLst>
            </a:custGeom>
            <a:solidFill>
              <a:schemeClr val="bg1">
                <a:alpha val="50415"/>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a:extLst>
              <a:ext uri="{FF2B5EF4-FFF2-40B4-BE49-F238E27FC236}">
                <a16:creationId xmlns:a16="http://schemas.microsoft.com/office/drawing/2014/main" id="{189E0B9C-2ECA-11A4-19F6-50639EDD448E}"/>
              </a:ext>
            </a:extLst>
          </p:cNvPr>
          <p:cNvGrpSpPr/>
          <p:nvPr/>
        </p:nvGrpSpPr>
        <p:grpSpPr>
          <a:xfrm>
            <a:off x="385183" y="1791474"/>
            <a:ext cx="5581048" cy="1075373"/>
            <a:chOff x="491569" y="1791474"/>
            <a:chExt cx="5246072" cy="1075373"/>
          </a:xfrm>
        </p:grpSpPr>
        <p:sp>
          <p:nvSpPr>
            <p:cNvPr id="19" name="Rounded Rectangle 18">
              <a:extLst>
                <a:ext uri="{FF2B5EF4-FFF2-40B4-BE49-F238E27FC236}">
                  <a16:creationId xmlns:a16="http://schemas.microsoft.com/office/drawing/2014/main" id="{B445413F-4EC6-9F86-EF1F-9D064AA80045}"/>
                </a:ext>
              </a:extLst>
            </p:cNvPr>
            <p:cNvSpPr/>
            <p:nvPr/>
          </p:nvSpPr>
          <p:spPr>
            <a:xfrm>
              <a:off x="491569" y="1791474"/>
              <a:ext cx="5246072" cy="1075373"/>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1D9D6DC7-4E3F-77BD-5863-25836ADA731C}"/>
                </a:ext>
              </a:extLst>
            </p:cNvPr>
            <p:cNvSpPr txBox="1"/>
            <p:nvPr/>
          </p:nvSpPr>
          <p:spPr>
            <a:xfrm>
              <a:off x="1463147" y="2090633"/>
              <a:ext cx="2675561" cy="477054"/>
            </a:xfrm>
            <a:prstGeom prst="rect">
              <a:avLst/>
            </a:prstGeom>
            <a:noFill/>
          </p:spPr>
          <p:txBody>
            <a:bodyPr wrap="square" rtlCol="0">
              <a:spAutoFit/>
            </a:bodyPr>
            <a:lstStyle/>
            <a:p>
              <a:r>
                <a:rPr lang="en-US" sz="2400" b="1" dirty="0">
                  <a:solidFill>
                    <a:schemeClr val="accent3"/>
                  </a:solidFill>
                  <a:latin typeface="Figtree" pitchFamily="2" charset="0"/>
                </a:rPr>
                <a:t>Analysis</a:t>
              </a:r>
            </a:p>
          </p:txBody>
        </p:sp>
        <p:sp>
          <p:nvSpPr>
            <p:cNvPr id="20" name="Graphic 11">
              <a:extLst>
                <a:ext uri="{FF2B5EF4-FFF2-40B4-BE49-F238E27FC236}">
                  <a16:creationId xmlns:a16="http://schemas.microsoft.com/office/drawing/2014/main" id="{5EE9EDC0-8162-3424-28D9-25625F68DEF8}"/>
                </a:ext>
              </a:extLst>
            </p:cNvPr>
            <p:cNvSpPr/>
            <p:nvPr/>
          </p:nvSpPr>
          <p:spPr>
            <a:xfrm>
              <a:off x="679709" y="1968199"/>
              <a:ext cx="721923" cy="721923"/>
            </a:xfrm>
            <a:custGeom>
              <a:avLst/>
              <a:gdLst>
                <a:gd name="connsiteX0" fmla="*/ 345775 w 493991"/>
                <a:gd name="connsiteY0" fmla="*/ 189149 h 493991"/>
                <a:gd name="connsiteX1" fmla="*/ 378204 w 493991"/>
                <a:gd name="connsiteY1" fmla="*/ 194475 h 493991"/>
                <a:gd name="connsiteX2" fmla="*/ 263630 w 493991"/>
                <a:gd name="connsiteY2" fmla="*/ 84855 h 493991"/>
                <a:gd name="connsiteX3" fmla="*/ 246155 w 493991"/>
                <a:gd name="connsiteY3" fmla="*/ 100368 h 493991"/>
                <a:gd name="connsiteX4" fmla="*/ 246155 w 493991"/>
                <a:gd name="connsiteY4" fmla="*/ 217839 h 493991"/>
                <a:gd name="connsiteX5" fmla="*/ 274938 w 493991"/>
                <a:gd name="connsiteY5" fmla="*/ 217839 h 493991"/>
                <a:gd name="connsiteX6" fmla="*/ 345775 w 493991"/>
                <a:gd name="connsiteY6" fmla="*/ 189149 h 493991"/>
                <a:gd name="connsiteX7" fmla="*/ 256995 w 493991"/>
                <a:gd name="connsiteY7" fmla="*/ 241108 h 493991"/>
                <a:gd name="connsiteX8" fmla="*/ 222978 w 493991"/>
                <a:gd name="connsiteY8" fmla="*/ 241108 h 493991"/>
                <a:gd name="connsiteX9" fmla="*/ 222978 w 493991"/>
                <a:gd name="connsiteY9" fmla="*/ 123638 h 493991"/>
                <a:gd name="connsiteX10" fmla="*/ 205129 w 493991"/>
                <a:gd name="connsiteY10" fmla="*/ 108218 h 493991"/>
                <a:gd name="connsiteX11" fmla="*/ 89061 w 493991"/>
                <a:gd name="connsiteY11" fmla="*/ 247463 h 493991"/>
                <a:gd name="connsiteX12" fmla="*/ 216624 w 493991"/>
                <a:gd name="connsiteY12" fmla="*/ 375026 h 493991"/>
                <a:gd name="connsiteX13" fmla="*/ 275125 w 493991"/>
                <a:gd name="connsiteY13" fmla="*/ 364559 h 493991"/>
                <a:gd name="connsiteX14" fmla="*/ 243818 w 493991"/>
                <a:gd name="connsiteY14" fmla="*/ 291106 h 493991"/>
                <a:gd name="connsiteX15" fmla="*/ 256995 w 493991"/>
                <a:gd name="connsiteY15" fmla="*/ 241108 h 493991"/>
                <a:gd name="connsiteX16" fmla="*/ 246996 w 493991"/>
                <a:gd name="connsiteY16" fmla="*/ 0 h 493991"/>
                <a:gd name="connsiteX17" fmla="*/ 0 w 493991"/>
                <a:gd name="connsiteY17" fmla="*/ 246996 h 493991"/>
                <a:gd name="connsiteX18" fmla="*/ 246996 w 493991"/>
                <a:gd name="connsiteY18" fmla="*/ 493992 h 493991"/>
                <a:gd name="connsiteX19" fmla="*/ 493992 w 493991"/>
                <a:gd name="connsiteY19" fmla="*/ 246996 h 493991"/>
                <a:gd name="connsiteX20" fmla="*/ 246996 w 493991"/>
                <a:gd name="connsiteY20" fmla="*/ 0 h 493991"/>
                <a:gd name="connsiteX21" fmla="*/ 246996 w 493991"/>
                <a:gd name="connsiteY21" fmla="*/ 485114 h 493991"/>
                <a:gd name="connsiteX22" fmla="*/ 8785 w 493991"/>
                <a:gd name="connsiteY22" fmla="*/ 246996 h 493991"/>
                <a:gd name="connsiteX23" fmla="*/ 246996 w 493991"/>
                <a:gd name="connsiteY23" fmla="*/ 8785 h 493991"/>
                <a:gd name="connsiteX24" fmla="*/ 485114 w 493991"/>
                <a:gd name="connsiteY24" fmla="*/ 246902 h 493991"/>
                <a:gd name="connsiteX25" fmla="*/ 246996 w 493991"/>
                <a:gd name="connsiteY25" fmla="*/ 485020 h 493991"/>
                <a:gd name="connsiteX26" fmla="*/ 345775 w 493991"/>
                <a:gd name="connsiteY26" fmla="*/ 207091 h 493991"/>
                <a:gd name="connsiteX27" fmla="*/ 261761 w 493991"/>
                <a:gd name="connsiteY27" fmla="*/ 291106 h 493991"/>
                <a:gd name="connsiteX28" fmla="*/ 345775 w 493991"/>
                <a:gd name="connsiteY28" fmla="*/ 375120 h 493991"/>
                <a:gd name="connsiteX29" fmla="*/ 429790 w 493991"/>
                <a:gd name="connsiteY29" fmla="*/ 291106 h 493991"/>
                <a:gd name="connsiteX30" fmla="*/ 345775 w 493991"/>
                <a:gd name="connsiteY30" fmla="*/ 207091 h 493991"/>
                <a:gd name="connsiteX31" fmla="*/ 365120 w 493991"/>
                <a:gd name="connsiteY31" fmla="*/ 327085 h 493991"/>
                <a:gd name="connsiteX32" fmla="*/ 350915 w 493991"/>
                <a:gd name="connsiteY32" fmla="*/ 333533 h 493991"/>
                <a:gd name="connsiteX33" fmla="*/ 350915 w 493991"/>
                <a:gd name="connsiteY33" fmla="*/ 333533 h 493991"/>
                <a:gd name="connsiteX34" fmla="*/ 350915 w 493991"/>
                <a:gd name="connsiteY34" fmla="*/ 344374 h 493991"/>
                <a:gd name="connsiteX35" fmla="*/ 345869 w 493991"/>
                <a:gd name="connsiteY35" fmla="*/ 349420 h 493991"/>
                <a:gd name="connsiteX36" fmla="*/ 340822 w 493991"/>
                <a:gd name="connsiteY36" fmla="*/ 344374 h 493991"/>
                <a:gd name="connsiteX37" fmla="*/ 340822 w 493991"/>
                <a:gd name="connsiteY37" fmla="*/ 334094 h 493991"/>
                <a:gd name="connsiteX38" fmla="*/ 340822 w 493991"/>
                <a:gd name="connsiteY38" fmla="*/ 334094 h 493991"/>
                <a:gd name="connsiteX39" fmla="*/ 336056 w 493991"/>
                <a:gd name="connsiteY39" fmla="*/ 333627 h 493991"/>
                <a:gd name="connsiteX40" fmla="*/ 327833 w 493991"/>
                <a:gd name="connsiteY40" fmla="*/ 331758 h 493991"/>
                <a:gd name="connsiteX41" fmla="*/ 321104 w 493991"/>
                <a:gd name="connsiteY41" fmla="*/ 328206 h 493991"/>
                <a:gd name="connsiteX42" fmla="*/ 318394 w 493991"/>
                <a:gd name="connsiteY42" fmla="*/ 322880 h 493991"/>
                <a:gd name="connsiteX43" fmla="*/ 320637 w 493991"/>
                <a:gd name="connsiteY43" fmla="*/ 317646 h 493991"/>
                <a:gd name="connsiteX44" fmla="*/ 326244 w 493991"/>
                <a:gd name="connsiteY44" fmla="*/ 315403 h 493991"/>
                <a:gd name="connsiteX45" fmla="*/ 332225 w 493991"/>
                <a:gd name="connsiteY45" fmla="*/ 316805 h 493991"/>
                <a:gd name="connsiteX46" fmla="*/ 344000 w 493991"/>
                <a:gd name="connsiteY46" fmla="*/ 319141 h 493991"/>
                <a:gd name="connsiteX47" fmla="*/ 356336 w 493991"/>
                <a:gd name="connsiteY47" fmla="*/ 308955 h 493991"/>
                <a:gd name="connsiteX48" fmla="*/ 351476 w 493991"/>
                <a:gd name="connsiteY48" fmla="*/ 300918 h 493991"/>
                <a:gd name="connsiteX49" fmla="*/ 342785 w 493991"/>
                <a:gd name="connsiteY49" fmla="*/ 297741 h 493991"/>
                <a:gd name="connsiteX50" fmla="*/ 335683 w 493991"/>
                <a:gd name="connsiteY50" fmla="*/ 295498 h 493991"/>
                <a:gd name="connsiteX51" fmla="*/ 329421 w 493991"/>
                <a:gd name="connsiteY51" fmla="*/ 292507 h 493991"/>
                <a:gd name="connsiteX52" fmla="*/ 323721 w 493991"/>
                <a:gd name="connsiteY52" fmla="*/ 288115 h 493991"/>
                <a:gd name="connsiteX53" fmla="*/ 320169 w 493991"/>
                <a:gd name="connsiteY53" fmla="*/ 281947 h 493991"/>
                <a:gd name="connsiteX54" fmla="*/ 318581 w 493991"/>
                <a:gd name="connsiteY54" fmla="*/ 273069 h 493991"/>
                <a:gd name="connsiteX55" fmla="*/ 325963 w 493991"/>
                <a:gd name="connsiteY55" fmla="*/ 255126 h 493991"/>
                <a:gd name="connsiteX56" fmla="*/ 340916 w 493991"/>
                <a:gd name="connsiteY56" fmla="*/ 248771 h 493991"/>
                <a:gd name="connsiteX57" fmla="*/ 340916 w 493991"/>
                <a:gd name="connsiteY57" fmla="*/ 248771 h 493991"/>
                <a:gd name="connsiteX58" fmla="*/ 340916 w 493991"/>
                <a:gd name="connsiteY58" fmla="*/ 238211 h 493991"/>
                <a:gd name="connsiteX59" fmla="*/ 345962 w 493991"/>
                <a:gd name="connsiteY59" fmla="*/ 233165 h 493991"/>
                <a:gd name="connsiteX60" fmla="*/ 351009 w 493991"/>
                <a:gd name="connsiteY60" fmla="*/ 238211 h 493991"/>
                <a:gd name="connsiteX61" fmla="*/ 351009 w 493991"/>
                <a:gd name="connsiteY61" fmla="*/ 248678 h 493991"/>
                <a:gd name="connsiteX62" fmla="*/ 351009 w 493991"/>
                <a:gd name="connsiteY62" fmla="*/ 248678 h 493991"/>
                <a:gd name="connsiteX63" fmla="*/ 352878 w 493991"/>
                <a:gd name="connsiteY63" fmla="*/ 248865 h 493991"/>
                <a:gd name="connsiteX64" fmla="*/ 360448 w 493991"/>
                <a:gd name="connsiteY64" fmla="*/ 250454 h 493991"/>
                <a:gd name="connsiteX65" fmla="*/ 367176 w 493991"/>
                <a:gd name="connsiteY65" fmla="*/ 253818 h 493991"/>
                <a:gd name="connsiteX66" fmla="*/ 369886 w 493991"/>
                <a:gd name="connsiteY66" fmla="*/ 259145 h 493991"/>
                <a:gd name="connsiteX67" fmla="*/ 367643 w 493991"/>
                <a:gd name="connsiteY67" fmla="*/ 264378 h 493991"/>
                <a:gd name="connsiteX68" fmla="*/ 361569 w 493991"/>
                <a:gd name="connsiteY68" fmla="*/ 266621 h 493991"/>
                <a:gd name="connsiteX69" fmla="*/ 355775 w 493991"/>
                <a:gd name="connsiteY69" fmla="*/ 265313 h 493991"/>
                <a:gd name="connsiteX70" fmla="*/ 346710 w 493991"/>
                <a:gd name="connsiteY70" fmla="*/ 263537 h 493991"/>
                <a:gd name="connsiteX71" fmla="*/ 335402 w 493991"/>
                <a:gd name="connsiteY71" fmla="*/ 272602 h 493991"/>
                <a:gd name="connsiteX72" fmla="*/ 340355 w 493991"/>
                <a:gd name="connsiteY72" fmla="*/ 280545 h 493991"/>
                <a:gd name="connsiteX73" fmla="*/ 348859 w 493991"/>
                <a:gd name="connsiteY73" fmla="*/ 283723 h 493991"/>
                <a:gd name="connsiteX74" fmla="*/ 355962 w 493991"/>
                <a:gd name="connsiteY74" fmla="*/ 286059 h 493991"/>
                <a:gd name="connsiteX75" fmla="*/ 362223 w 493991"/>
                <a:gd name="connsiteY75" fmla="*/ 289050 h 493991"/>
                <a:gd name="connsiteX76" fmla="*/ 368017 w 493991"/>
                <a:gd name="connsiteY76" fmla="*/ 293442 h 493991"/>
                <a:gd name="connsiteX77" fmla="*/ 371568 w 493991"/>
                <a:gd name="connsiteY77" fmla="*/ 299516 h 493991"/>
                <a:gd name="connsiteX78" fmla="*/ 373157 w 493991"/>
                <a:gd name="connsiteY78" fmla="*/ 308301 h 493991"/>
                <a:gd name="connsiteX79" fmla="*/ 364933 w 493991"/>
                <a:gd name="connsiteY79" fmla="*/ 327272 h 49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93991" h="493991">
                  <a:moveTo>
                    <a:pt x="345775" y="189149"/>
                  </a:moveTo>
                  <a:cubicBezTo>
                    <a:pt x="357083" y="189149"/>
                    <a:pt x="368017" y="191018"/>
                    <a:pt x="378204" y="194475"/>
                  </a:cubicBezTo>
                  <a:cubicBezTo>
                    <a:pt x="368111" y="137189"/>
                    <a:pt x="321758" y="92425"/>
                    <a:pt x="263630" y="84855"/>
                  </a:cubicBezTo>
                  <a:cubicBezTo>
                    <a:pt x="254379" y="83640"/>
                    <a:pt x="246155" y="91023"/>
                    <a:pt x="246155" y="100368"/>
                  </a:cubicBezTo>
                  <a:lnTo>
                    <a:pt x="246155" y="217839"/>
                  </a:lnTo>
                  <a:lnTo>
                    <a:pt x="274938" y="217839"/>
                  </a:lnTo>
                  <a:cubicBezTo>
                    <a:pt x="293255" y="200083"/>
                    <a:pt x="318300" y="189149"/>
                    <a:pt x="345775" y="189149"/>
                  </a:cubicBezTo>
                  <a:close/>
                  <a:moveTo>
                    <a:pt x="256995" y="241108"/>
                  </a:moveTo>
                  <a:lnTo>
                    <a:pt x="222978" y="241108"/>
                  </a:lnTo>
                  <a:lnTo>
                    <a:pt x="222978" y="123638"/>
                  </a:lnTo>
                  <a:cubicBezTo>
                    <a:pt x="222978" y="114106"/>
                    <a:pt x="214568" y="106910"/>
                    <a:pt x="205129" y="108218"/>
                  </a:cubicBezTo>
                  <a:cubicBezTo>
                    <a:pt x="137469" y="117190"/>
                    <a:pt x="85790" y="176626"/>
                    <a:pt x="89061" y="247463"/>
                  </a:cubicBezTo>
                  <a:cubicBezTo>
                    <a:pt x="92238" y="316151"/>
                    <a:pt x="147936" y="371942"/>
                    <a:pt x="216624" y="375026"/>
                  </a:cubicBezTo>
                  <a:cubicBezTo>
                    <a:pt x="237464" y="375961"/>
                    <a:pt x="257276" y="372129"/>
                    <a:pt x="275125" y="364559"/>
                  </a:cubicBezTo>
                  <a:cubicBezTo>
                    <a:pt x="255874" y="345962"/>
                    <a:pt x="243818" y="319889"/>
                    <a:pt x="243818" y="291106"/>
                  </a:cubicBezTo>
                  <a:cubicBezTo>
                    <a:pt x="243818" y="272976"/>
                    <a:pt x="248585" y="255874"/>
                    <a:pt x="256995" y="241108"/>
                  </a:cubicBezTo>
                  <a:close/>
                  <a:moveTo>
                    <a:pt x="246996" y="0"/>
                  </a:moveTo>
                  <a:cubicBezTo>
                    <a:pt x="110835" y="0"/>
                    <a:pt x="0" y="110742"/>
                    <a:pt x="0" y="246996"/>
                  </a:cubicBezTo>
                  <a:cubicBezTo>
                    <a:pt x="0" y="383250"/>
                    <a:pt x="110835" y="493992"/>
                    <a:pt x="246996" y="493992"/>
                  </a:cubicBezTo>
                  <a:cubicBezTo>
                    <a:pt x="383157" y="493992"/>
                    <a:pt x="493992" y="383250"/>
                    <a:pt x="493992" y="246996"/>
                  </a:cubicBezTo>
                  <a:cubicBezTo>
                    <a:pt x="493992" y="110742"/>
                    <a:pt x="383157" y="0"/>
                    <a:pt x="246996" y="0"/>
                  </a:cubicBezTo>
                  <a:close/>
                  <a:moveTo>
                    <a:pt x="246996" y="485114"/>
                  </a:moveTo>
                  <a:cubicBezTo>
                    <a:pt x="115695" y="485114"/>
                    <a:pt x="8785" y="378297"/>
                    <a:pt x="8785" y="246996"/>
                  </a:cubicBezTo>
                  <a:cubicBezTo>
                    <a:pt x="8785" y="115695"/>
                    <a:pt x="115695" y="8785"/>
                    <a:pt x="246996" y="8785"/>
                  </a:cubicBezTo>
                  <a:cubicBezTo>
                    <a:pt x="378297" y="8785"/>
                    <a:pt x="485114" y="115601"/>
                    <a:pt x="485114" y="246902"/>
                  </a:cubicBezTo>
                  <a:cubicBezTo>
                    <a:pt x="485114" y="378204"/>
                    <a:pt x="378297" y="485020"/>
                    <a:pt x="246996" y="485020"/>
                  </a:cubicBezTo>
                  <a:close/>
                  <a:moveTo>
                    <a:pt x="345775" y="207091"/>
                  </a:moveTo>
                  <a:cubicBezTo>
                    <a:pt x="299329" y="207091"/>
                    <a:pt x="261761" y="244753"/>
                    <a:pt x="261761" y="291106"/>
                  </a:cubicBezTo>
                  <a:cubicBezTo>
                    <a:pt x="261761" y="337458"/>
                    <a:pt x="299423" y="375120"/>
                    <a:pt x="345775" y="375120"/>
                  </a:cubicBezTo>
                  <a:cubicBezTo>
                    <a:pt x="392128" y="375120"/>
                    <a:pt x="429790" y="337458"/>
                    <a:pt x="429790" y="291106"/>
                  </a:cubicBezTo>
                  <a:cubicBezTo>
                    <a:pt x="429790" y="244753"/>
                    <a:pt x="392128" y="207091"/>
                    <a:pt x="345775" y="207091"/>
                  </a:cubicBezTo>
                  <a:close/>
                  <a:moveTo>
                    <a:pt x="365120" y="327085"/>
                  </a:moveTo>
                  <a:cubicBezTo>
                    <a:pt x="361195" y="330449"/>
                    <a:pt x="356429" y="332505"/>
                    <a:pt x="350915" y="333533"/>
                  </a:cubicBezTo>
                  <a:lnTo>
                    <a:pt x="350915" y="333533"/>
                  </a:lnTo>
                  <a:lnTo>
                    <a:pt x="350915" y="344374"/>
                  </a:lnTo>
                  <a:cubicBezTo>
                    <a:pt x="350915" y="347177"/>
                    <a:pt x="348673" y="349420"/>
                    <a:pt x="345869" y="349420"/>
                  </a:cubicBezTo>
                  <a:cubicBezTo>
                    <a:pt x="343065" y="349420"/>
                    <a:pt x="340822" y="347177"/>
                    <a:pt x="340822" y="344374"/>
                  </a:cubicBezTo>
                  <a:lnTo>
                    <a:pt x="340822" y="334094"/>
                  </a:lnTo>
                  <a:lnTo>
                    <a:pt x="340822" y="334094"/>
                  </a:lnTo>
                  <a:cubicBezTo>
                    <a:pt x="339327" y="334000"/>
                    <a:pt x="337739" y="333814"/>
                    <a:pt x="336056" y="333627"/>
                  </a:cubicBezTo>
                  <a:cubicBezTo>
                    <a:pt x="333253" y="333159"/>
                    <a:pt x="330543" y="332505"/>
                    <a:pt x="327833" y="331758"/>
                  </a:cubicBezTo>
                  <a:cubicBezTo>
                    <a:pt x="325029" y="330916"/>
                    <a:pt x="322786" y="329702"/>
                    <a:pt x="321104" y="328206"/>
                  </a:cubicBezTo>
                  <a:cubicBezTo>
                    <a:pt x="319328" y="326618"/>
                    <a:pt x="318394" y="324842"/>
                    <a:pt x="318394" y="322880"/>
                  </a:cubicBezTo>
                  <a:cubicBezTo>
                    <a:pt x="318394" y="320917"/>
                    <a:pt x="319141" y="319141"/>
                    <a:pt x="320637" y="317646"/>
                  </a:cubicBezTo>
                  <a:cubicBezTo>
                    <a:pt x="322225" y="316151"/>
                    <a:pt x="324094" y="315403"/>
                    <a:pt x="326244" y="315403"/>
                  </a:cubicBezTo>
                  <a:cubicBezTo>
                    <a:pt x="327552" y="315403"/>
                    <a:pt x="329608" y="315871"/>
                    <a:pt x="332225" y="316805"/>
                  </a:cubicBezTo>
                  <a:cubicBezTo>
                    <a:pt x="336991" y="318394"/>
                    <a:pt x="340916" y="319141"/>
                    <a:pt x="344000" y="319141"/>
                  </a:cubicBezTo>
                  <a:cubicBezTo>
                    <a:pt x="352224" y="319141"/>
                    <a:pt x="356336" y="315777"/>
                    <a:pt x="356336" y="308955"/>
                  </a:cubicBezTo>
                  <a:cubicBezTo>
                    <a:pt x="356336" y="305030"/>
                    <a:pt x="354747" y="302320"/>
                    <a:pt x="351476" y="300918"/>
                  </a:cubicBezTo>
                  <a:cubicBezTo>
                    <a:pt x="349233" y="299984"/>
                    <a:pt x="346336" y="298862"/>
                    <a:pt x="342785" y="297741"/>
                  </a:cubicBezTo>
                  <a:cubicBezTo>
                    <a:pt x="339701" y="296806"/>
                    <a:pt x="337365" y="296059"/>
                    <a:pt x="335683" y="295498"/>
                  </a:cubicBezTo>
                  <a:cubicBezTo>
                    <a:pt x="334000" y="294844"/>
                    <a:pt x="331944" y="293909"/>
                    <a:pt x="329421" y="292507"/>
                  </a:cubicBezTo>
                  <a:cubicBezTo>
                    <a:pt x="326898" y="291106"/>
                    <a:pt x="325029" y="289704"/>
                    <a:pt x="323721" y="288115"/>
                  </a:cubicBezTo>
                  <a:cubicBezTo>
                    <a:pt x="322412" y="286526"/>
                    <a:pt x="321197" y="284470"/>
                    <a:pt x="320169" y="281947"/>
                  </a:cubicBezTo>
                  <a:cubicBezTo>
                    <a:pt x="319141" y="279331"/>
                    <a:pt x="318581" y="276340"/>
                    <a:pt x="318581" y="273069"/>
                  </a:cubicBezTo>
                  <a:cubicBezTo>
                    <a:pt x="318581" y="265500"/>
                    <a:pt x="321010" y="259519"/>
                    <a:pt x="325963" y="255126"/>
                  </a:cubicBezTo>
                  <a:cubicBezTo>
                    <a:pt x="329888" y="251668"/>
                    <a:pt x="334842" y="249519"/>
                    <a:pt x="340916" y="248771"/>
                  </a:cubicBezTo>
                  <a:lnTo>
                    <a:pt x="340916" y="248771"/>
                  </a:lnTo>
                  <a:lnTo>
                    <a:pt x="340916" y="238211"/>
                  </a:lnTo>
                  <a:cubicBezTo>
                    <a:pt x="340916" y="235408"/>
                    <a:pt x="343159" y="233165"/>
                    <a:pt x="345962" y="233165"/>
                  </a:cubicBezTo>
                  <a:cubicBezTo>
                    <a:pt x="348766" y="233165"/>
                    <a:pt x="351009" y="235408"/>
                    <a:pt x="351009" y="238211"/>
                  </a:cubicBezTo>
                  <a:lnTo>
                    <a:pt x="351009" y="248678"/>
                  </a:lnTo>
                  <a:lnTo>
                    <a:pt x="351009" y="248678"/>
                  </a:lnTo>
                  <a:cubicBezTo>
                    <a:pt x="351663" y="248678"/>
                    <a:pt x="352224" y="248771"/>
                    <a:pt x="352878" y="248865"/>
                  </a:cubicBezTo>
                  <a:cubicBezTo>
                    <a:pt x="355214" y="249145"/>
                    <a:pt x="357831" y="249706"/>
                    <a:pt x="360448" y="250454"/>
                  </a:cubicBezTo>
                  <a:cubicBezTo>
                    <a:pt x="363251" y="251201"/>
                    <a:pt x="365494" y="252229"/>
                    <a:pt x="367176" y="253818"/>
                  </a:cubicBezTo>
                  <a:cubicBezTo>
                    <a:pt x="368952" y="255313"/>
                    <a:pt x="369886" y="257089"/>
                    <a:pt x="369886" y="259145"/>
                  </a:cubicBezTo>
                  <a:cubicBezTo>
                    <a:pt x="369886" y="261201"/>
                    <a:pt x="369139" y="262976"/>
                    <a:pt x="367643" y="264378"/>
                  </a:cubicBezTo>
                  <a:cubicBezTo>
                    <a:pt x="366148" y="265873"/>
                    <a:pt x="364092" y="266621"/>
                    <a:pt x="361569" y="266621"/>
                  </a:cubicBezTo>
                  <a:cubicBezTo>
                    <a:pt x="360634" y="266621"/>
                    <a:pt x="358672" y="266154"/>
                    <a:pt x="355775" y="265313"/>
                  </a:cubicBezTo>
                  <a:cubicBezTo>
                    <a:pt x="352504" y="264098"/>
                    <a:pt x="349514" y="263537"/>
                    <a:pt x="346710" y="263537"/>
                  </a:cubicBezTo>
                  <a:cubicBezTo>
                    <a:pt x="339234" y="263537"/>
                    <a:pt x="335402" y="266527"/>
                    <a:pt x="335402" y="272602"/>
                  </a:cubicBezTo>
                  <a:cubicBezTo>
                    <a:pt x="335402" y="276340"/>
                    <a:pt x="337084" y="278957"/>
                    <a:pt x="340355" y="280545"/>
                  </a:cubicBezTo>
                  <a:cubicBezTo>
                    <a:pt x="342878" y="281854"/>
                    <a:pt x="345775" y="282882"/>
                    <a:pt x="348859" y="283723"/>
                  </a:cubicBezTo>
                  <a:cubicBezTo>
                    <a:pt x="351943" y="284657"/>
                    <a:pt x="354280" y="285498"/>
                    <a:pt x="355962" y="286059"/>
                  </a:cubicBezTo>
                  <a:cubicBezTo>
                    <a:pt x="357644" y="286713"/>
                    <a:pt x="359700" y="287648"/>
                    <a:pt x="362223" y="289050"/>
                  </a:cubicBezTo>
                  <a:cubicBezTo>
                    <a:pt x="364840" y="290451"/>
                    <a:pt x="366802" y="291947"/>
                    <a:pt x="368017" y="293442"/>
                  </a:cubicBezTo>
                  <a:cubicBezTo>
                    <a:pt x="369326" y="294937"/>
                    <a:pt x="370541" y="296993"/>
                    <a:pt x="371568" y="299516"/>
                  </a:cubicBezTo>
                  <a:cubicBezTo>
                    <a:pt x="372596" y="302133"/>
                    <a:pt x="373157" y="305030"/>
                    <a:pt x="373157" y="308301"/>
                  </a:cubicBezTo>
                  <a:cubicBezTo>
                    <a:pt x="373157" y="316338"/>
                    <a:pt x="370447" y="322693"/>
                    <a:pt x="364933" y="327272"/>
                  </a:cubicBezTo>
                  <a:close/>
                </a:path>
              </a:pathLst>
            </a:custGeom>
            <a:solidFill>
              <a:schemeClr val="accent3"/>
            </a:solidFill>
            <a:ln w="9345" cap="flat">
              <a:noFill/>
              <a:prstDash val="solid"/>
              <a:miter/>
            </a:ln>
          </p:spPr>
          <p:txBody>
            <a:bodyPr rtlCol="0" anchor="ctr"/>
            <a:lstStyle/>
            <a:p>
              <a:endParaRPr lang="en-US"/>
            </a:p>
          </p:txBody>
        </p:sp>
        <p:sp>
          <p:nvSpPr>
            <p:cNvPr id="40" name="Freeform 26">
              <a:extLst>
                <a:ext uri="{FF2B5EF4-FFF2-40B4-BE49-F238E27FC236}">
                  <a16:creationId xmlns:a16="http://schemas.microsoft.com/office/drawing/2014/main" id="{E4ECC81B-62DD-E9F4-7224-370397865366}"/>
                </a:ext>
              </a:extLst>
            </p:cNvPr>
            <p:cNvSpPr>
              <a:spLocks/>
            </p:cNvSpPr>
            <p:nvPr/>
          </p:nvSpPr>
          <p:spPr bwMode="auto">
            <a:xfrm>
              <a:off x="5520749" y="2180728"/>
              <a:ext cx="165100" cy="296863"/>
            </a:xfrm>
            <a:custGeom>
              <a:avLst/>
              <a:gdLst>
                <a:gd name="T0" fmla="*/ 24 w 25"/>
                <a:gd name="T1" fmla="*/ 21 h 45"/>
                <a:gd name="T2" fmla="*/ 4 w 25"/>
                <a:gd name="T3" fmla="*/ 1 h 45"/>
                <a:gd name="T4" fmla="*/ 1 w 25"/>
                <a:gd name="T5" fmla="*/ 0 h 45"/>
                <a:gd name="T6" fmla="*/ 0 w 25"/>
                <a:gd name="T7" fmla="*/ 3 h 45"/>
                <a:gd name="T8" fmla="*/ 0 w 25"/>
                <a:gd name="T9" fmla="*/ 43 h 45"/>
                <a:gd name="T10" fmla="*/ 1 w 25"/>
                <a:gd name="T11" fmla="*/ 45 h 45"/>
                <a:gd name="T12" fmla="*/ 2 w 25"/>
                <a:gd name="T13" fmla="*/ 45 h 45"/>
                <a:gd name="T14" fmla="*/ 4 w 25"/>
                <a:gd name="T15" fmla="*/ 44 h 45"/>
                <a:gd name="T16" fmla="*/ 24 w 25"/>
                <a:gd name="T17" fmla="*/ 24 h 45"/>
                <a:gd name="T18" fmla="*/ 25 w 25"/>
                <a:gd name="T19" fmla="*/ 23 h 45"/>
                <a:gd name="T20" fmla="*/ 24 w 25"/>
                <a:gd name="T2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24" y="21"/>
                  </a:moveTo>
                  <a:cubicBezTo>
                    <a:pt x="4" y="1"/>
                    <a:pt x="4" y="1"/>
                    <a:pt x="4" y="1"/>
                  </a:cubicBezTo>
                  <a:cubicBezTo>
                    <a:pt x="3" y="0"/>
                    <a:pt x="2" y="0"/>
                    <a:pt x="1" y="0"/>
                  </a:cubicBezTo>
                  <a:cubicBezTo>
                    <a:pt x="0" y="1"/>
                    <a:pt x="0" y="2"/>
                    <a:pt x="0" y="3"/>
                  </a:cubicBezTo>
                  <a:cubicBezTo>
                    <a:pt x="0" y="43"/>
                    <a:pt x="0" y="43"/>
                    <a:pt x="0" y="43"/>
                  </a:cubicBezTo>
                  <a:cubicBezTo>
                    <a:pt x="0" y="44"/>
                    <a:pt x="0" y="45"/>
                    <a:pt x="1" y="45"/>
                  </a:cubicBezTo>
                  <a:cubicBezTo>
                    <a:pt x="2" y="45"/>
                    <a:pt x="2" y="45"/>
                    <a:pt x="2" y="45"/>
                  </a:cubicBezTo>
                  <a:cubicBezTo>
                    <a:pt x="3" y="45"/>
                    <a:pt x="3" y="45"/>
                    <a:pt x="4" y="44"/>
                  </a:cubicBezTo>
                  <a:cubicBezTo>
                    <a:pt x="24" y="24"/>
                    <a:pt x="24" y="24"/>
                    <a:pt x="24" y="24"/>
                  </a:cubicBezTo>
                  <a:cubicBezTo>
                    <a:pt x="24" y="24"/>
                    <a:pt x="25" y="23"/>
                    <a:pt x="25" y="23"/>
                  </a:cubicBezTo>
                  <a:cubicBezTo>
                    <a:pt x="25" y="22"/>
                    <a:pt x="24" y="21"/>
                    <a:pt x="24" y="21"/>
                  </a:cubicBezTo>
                  <a:close/>
                </a:path>
              </a:pathLst>
            </a:custGeom>
            <a:solidFill>
              <a:schemeClr val="bg1">
                <a:alpha val="50415"/>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a:extLst>
              <a:ext uri="{FF2B5EF4-FFF2-40B4-BE49-F238E27FC236}">
                <a16:creationId xmlns:a16="http://schemas.microsoft.com/office/drawing/2014/main" id="{252D69D7-7732-86EF-88C2-4F2E32122F27}"/>
              </a:ext>
            </a:extLst>
          </p:cNvPr>
          <p:cNvGrpSpPr/>
          <p:nvPr/>
        </p:nvGrpSpPr>
        <p:grpSpPr>
          <a:xfrm>
            <a:off x="385183" y="5064432"/>
            <a:ext cx="5581049" cy="1075373"/>
            <a:chOff x="491569" y="5313558"/>
            <a:chExt cx="5581049" cy="1075373"/>
          </a:xfrm>
        </p:grpSpPr>
        <p:sp>
          <p:nvSpPr>
            <p:cNvPr id="26" name="Rounded Rectangle 25">
              <a:extLst>
                <a:ext uri="{FF2B5EF4-FFF2-40B4-BE49-F238E27FC236}">
                  <a16:creationId xmlns:a16="http://schemas.microsoft.com/office/drawing/2014/main" id="{7728ABEB-1858-E081-CFA5-706A7E8F4B6B}"/>
                </a:ext>
              </a:extLst>
            </p:cNvPr>
            <p:cNvSpPr/>
            <p:nvPr/>
          </p:nvSpPr>
          <p:spPr>
            <a:xfrm>
              <a:off x="491569" y="5313558"/>
              <a:ext cx="5581049" cy="1075373"/>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5DD18F45-3DC1-2C04-9995-553D626C5384}"/>
                </a:ext>
              </a:extLst>
            </p:cNvPr>
            <p:cNvSpPr txBox="1"/>
            <p:nvPr/>
          </p:nvSpPr>
          <p:spPr>
            <a:xfrm>
              <a:off x="1463147" y="5612717"/>
              <a:ext cx="2615685" cy="477054"/>
            </a:xfrm>
            <a:prstGeom prst="rect">
              <a:avLst/>
            </a:prstGeom>
            <a:noFill/>
          </p:spPr>
          <p:txBody>
            <a:bodyPr wrap="square" rtlCol="0">
              <a:spAutoFit/>
            </a:bodyPr>
            <a:lstStyle/>
            <a:p>
              <a:r>
                <a:rPr lang="en-US" sz="2400" b="1" dirty="0">
                  <a:solidFill>
                    <a:schemeClr val="accent3"/>
                  </a:solidFill>
                  <a:latin typeface="Figtree" pitchFamily="2" charset="0"/>
                </a:rPr>
                <a:t>Workforce</a:t>
              </a:r>
            </a:p>
          </p:txBody>
        </p:sp>
        <p:sp>
          <p:nvSpPr>
            <p:cNvPr id="22" name="Graphic 15">
              <a:extLst>
                <a:ext uri="{FF2B5EF4-FFF2-40B4-BE49-F238E27FC236}">
                  <a16:creationId xmlns:a16="http://schemas.microsoft.com/office/drawing/2014/main" id="{840F5ECD-246B-6920-93F9-F35F7D310400}"/>
                </a:ext>
              </a:extLst>
            </p:cNvPr>
            <p:cNvSpPr/>
            <p:nvPr/>
          </p:nvSpPr>
          <p:spPr>
            <a:xfrm>
              <a:off x="680665" y="5490761"/>
              <a:ext cx="720967" cy="720967"/>
            </a:xfrm>
            <a:custGeom>
              <a:avLst/>
              <a:gdLst>
                <a:gd name="connsiteX0" fmla="*/ 161393 w 493337"/>
                <a:gd name="connsiteY0" fmla="*/ 152795 h 493337"/>
                <a:gd name="connsiteX1" fmla="*/ 165505 w 493337"/>
                <a:gd name="connsiteY1" fmla="*/ 152982 h 493337"/>
                <a:gd name="connsiteX2" fmla="*/ 319328 w 493337"/>
                <a:gd name="connsiteY2" fmla="*/ 152982 h 493337"/>
                <a:gd name="connsiteX3" fmla="*/ 323440 w 493337"/>
                <a:gd name="connsiteY3" fmla="*/ 152795 h 493337"/>
                <a:gd name="connsiteX4" fmla="*/ 332972 w 493337"/>
                <a:gd name="connsiteY4" fmla="*/ 141581 h 493337"/>
                <a:gd name="connsiteX5" fmla="*/ 322973 w 493337"/>
                <a:gd name="connsiteY5" fmla="*/ 130741 h 493337"/>
                <a:gd name="connsiteX6" fmla="*/ 318674 w 493337"/>
                <a:gd name="connsiteY6" fmla="*/ 130460 h 493337"/>
                <a:gd name="connsiteX7" fmla="*/ 305871 w 493337"/>
                <a:gd name="connsiteY7" fmla="*/ 92425 h 493337"/>
                <a:gd name="connsiteX8" fmla="*/ 274751 w 493337"/>
                <a:gd name="connsiteY8" fmla="*/ 65697 h 493337"/>
                <a:gd name="connsiteX9" fmla="*/ 274751 w 493337"/>
                <a:gd name="connsiteY9" fmla="*/ 70557 h 493337"/>
                <a:gd name="connsiteX10" fmla="*/ 274658 w 493337"/>
                <a:gd name="connsiteY10" fmla="*/ 89154 h 493337"/>
                <a:gd name="connsiteX11" fmla="*/ 243258 w 493337"/>
                <a:gd name="connsiteY11" fmla="*/ 119900 h 493337"/>
                <a:gd name="connsiteX12" fmla="*/ 210175 w 493337"/>
                <a:gd name="connsiteY12" fmla="*/ 88780 h 493337"/>
                <a:gd name="connsiteX13" fmla="*/ 210175 w 493337"/>
                <a:gd name="connsiteY13" fmla="*/ 69716 h 493337"/>
                <a:gd name="connsiteX14" fmla="*/ 209708 w 493337"/>
                <a:gd name="connsiteY14" fmla="*/ 65697 h 493337"/>
                <a:gd name="connsiteX15" fmla="*/ 166159 w 493337"/>
                <a:gd name="connsiteY15" fmla="*/ 130741 h 493337"/>
                <a:gd name="connsiteX16" fmla="*/ 161954 w 493337"/>
                <a:gd name="connsiteY16" fmla="*/ 130741 h 493337"/>
                <a:gd name="connsiteX17" fmla="*/ 151954 w 493337"/>
                <a:gd name="connsiteY17" fmla="*/ 141581 h 493337"/>
                <a:gd name="connsiteX18" fmla="*/ 161487 w 493337"/>
                <a:gd name="connsiteY18" fmla="*/ 152795 h 493337"/>
                <a:gd name="connsiteX19" fmla="*/ 184663 w 493337"/>
                <a:gd name="connsiteY19" fmla="*/ 374933 h 493337"/>
                <a:gd name="connsiteX20" fmla="*/ 184663 w 493337"/>
                <a:gd name="connsiteY20" fmla="*/ 421940 h 493337"/>
                <a:gd name="connsiteX21" fmla="*/ 299984 w 493337"/>
                <a:gd name="connsiteY21" fmla="*/ 421940 h 493337"/>
                <a:gd name="connsiteX22" fmla="*/ 299703 w 493337"/>
                <a:gd name="connsiteY22" fmla="*/ 374933 h 493337"/>
                <a:gd name="connsiteX23" fmla="*/ 184663 w 493337"/>
                <a:gd name="connsiteY23" fmla="*/ 374933 h 493337"/>
                <a:gd name="connsiteX24" fmla="*/ 142329 w 493337"/>
                <a:gd name="connsiteY24" fmla="*/ 295124 h 493337"/>
                <a:gd name="connsiteX25" fmla="*/ 111770 w 493337"/>
                <a:gd name="connsiteY25" fmla="*/ 334374 h 493337"/>
                <a:gd name="connsiteX26" fmla="*/ 111770 w 493337"/>
                <a:gd name="connsiteY26" fmla="*/ 409697 h 493337"/>
                <a:gd name="connsiteX27" fmla="*/ 124292 w 493337"/>
                <a:gd name="connsiteY27" fmla="*/ 422220 h 493337"/>
                <a:gd name="connsiteX28" fmla="*/ 153636 w 493337"/>
                <a:gd name="connsiteY28" fmla="*/ 422220 h 493337"/>
                <a:gd name="connsiteX29" fmla="*/ 162888 w 493337"/>
                <a:gd name="connsiteY29" fmla="*/ 422220 h 493337"/>
                <a:gd name="connsiteX30" fmla="*/ 162888 w 493337"/>
                <a:gd name="connsiteY30" fmla="*/ 417173 h 493337"/>
                <a:gd name="connsiteX31" fmla="*/ 162888 w 493337"/>
                <a:gd name="connsiteY31" fmla="*/ 365868 h 493337"/>
                <a:gd name="connsiteX32" fmla="*/ 172981 w 493337"/>
                <a:gd name="connsiteY32" fmla="*/ 353532 h 493337"/>
                <a:gd name="connsiteX33" fmla="*/ 174196 w 493337"/>
                <a:gd name="connsiteY33" fmla="*/ 353065 h 493337"/>
                <a:gd name="connsiteX34" fmla="*/ 174196 w 493337"/>
                <a:gd name="connsiteY34" fmla="*/ 287274 h 493337"/>
                <a:gd name="connsiteX35" fmla="*/ 171112 w 493337"/>
                <a:gd name="connsiteY35" fmla="*/ 287835 h 493337"/>
                <a:gd name="connsiteX36" fmla="*/ 142235 w 493337"/>
                <a:gd name="connsiteY36" fmla="*/ 295124 h 493337"/>
                <a:gd name="connsiteX37" fmla="*/ 242417 w 493337"/>
                <a:gd name="connsiteY37" fmla="*/ 98593 h 493337"/>
                <a:gd name="connsiteX38" fmla="*/ 253257 w 493337"/>
                <a:gd name="connsiteY38" fmla="*/ 87472 h 493337"/>
                <a:gd name="connsiteX39" fmla="*/ 253257 w 493337"/>
                <a:gd name="connsiteY39" fmla="*/ 62333 h 493337"/>
                <a:gd name="connsiteX40" fmla="*/ 242323 w 493337"/>
                <a:gd name="connsiteY40" fmla="*/ 51306 h 493337"/>
                <a:gd name="connsiteX41" fmla="*/ 231483 w 493337"/>
                <a:gd name="connsiteY41" fmla="*/ 62333 h 493337"/>
                <a:gd name="connsiteX42" fmla="*/ 231483 w 493337"/>
                <a:gd name="connsiteY42" fmla="*/ 74669 h 493337"/>
                <a:gd name="connsiteX43" fmla="*/ 231483 w 493337"/>
                <a:gd name="connsiteY43" fmla="*/ 87472 h 493337"/>
                <a:gd name="connsiteX44" fmla="*/ 242417 w 493337"/>
                <a:gd name="connsiteY44" fmla="*/ 98593 h 493337"/>
                <a:gd name="connsiteX45" fmla="*/ 249706 w 493337"/>
                <a:gd name="connsiteY45" fmla="*/ 328954 h 493337"/>
                <a:gd name="connsiteX46" fmla="*/ 236155 w 493337"/>
                <a:gd name="connsiteY46" fmla="*/ 329141 h 493337"/>
                <a:gd name="connsiteX47" fmla="*/ 199615 w 493337"/>
                <a:gd name="connsiteY47" fmla="*/ 306619 h 493337"/>
                <a:gd name="connsiteX48" fmla="*/ 196157 w 493337"/>
                <a:gd name="connsiteY48" fmla="*/ 304656 h 493337"/>
                <a:gd name="connsiteX49" fmla="*/ 196157 w 493337"/>
                <a:gd name="connsiteY49" fmla="*/ 353158 h 493337"/>
                <a:gd name="connsiteX50" fmla="*/ 289423 w 493337"/>
                <a:gd name="connsiteY50" fmla="*/ 353158 h 493337"/>
                <a:gd name="connsiteX51" fmla="*/ 289423 w 493337"/>
                <a:gd name="connsiteY51" fmla="*/ 304750 h 493337"/>
                <a:gd name="connsiteX52" fmla="*/ 286620 w 493337"/>
                <a:gd name="connsiteY52" fmla="*/ 306151 h 493337"/>
                <a:gd name="connsiteX53" fmla="*/ 249706 w 493337"/>
                <a:gd name="connsiteY53" fmla="*/ 328954 h 493337"/>
                <a:gd name="connsiteX54" fmla="*/ 343533 w 493337"/>
                <a:gd name="connsiteY54" fmla="*/ 295311 h 493337"/>
                <a:gd name="connsiteX55" fmla="*/ 330356 w 493337"/>
                <a:gd name="connsiteY55" fmla="*/ 291853 h 493337"/>
                <a:gd name="connsiteX56" fmla="*/ 311291 w 493337"/>
                <a:gd name="connsiteY56" fmla="*/ 287181 h 493337"/>
                <a:gd name="connsiteX57" fmla="*/ 311291 w 493337"/>
                <a:gd name="connsiteY57" fmla="*/ 352971 h 493337"/>
                <a:gd name="connsiteX58" fmla="*/ 321852 w 493337"/>
                <a:gd name="connsiteY58" fmla="*/ 367737 h 493337"/>
                <a:gd name="connsiteX59" fmla="*/ 321852 w 493337"/>
                <a:gd name="connsiteY59" fmla="*/ 416987 h 493337"/>
                <a:gd name="connsiteX60" fmla="*/ 321852 w 493337"/>
                <a:gd name="connsiteY60" fmla="*/ 421940 h 493337"/>
                <a:gd name="connsiteX61" fmla="*/ 325590 w 493337"/>
                <a:gd name="connsiteY61" fmla="*/ 422126 h 493337"/>
                <a:gd name="connsiteX62" fmla="*/ 360728 w 493337"/>
                <a:gd name="connsiteY62" fmla="*/ 422126 h 493337"/>
                <a:gd name="connsiteX63" fmla="*/ 372970 w 493337"/>
                <a:gd name="connsiteY63" fmla="*/ 410164 h 493337"/>
                <a:gd name="connsiteX64" fmla="*/ 372970 w 493337"/>
                <a:gd name="connsiteY64" fmla="*/ 333253 h 493337"/>
                <a:gd name="connsiteX65" fmla="*/ 343626 w 493337"/>
                <a:gd name="connsiteY65" fmla="*/ 295311 h 493337"/>
                <a:gd name="connsiteX66" fmla="*/ 307086 w 493337"/>
                <a:gd name="connsiteY66" fmla="*/ 174476 h 493337"/>
                <a:gd name="connsiteX67" fmla="*/ 177093 w 493337"/>
                <a:gd name="connsiteY67" fmla="*/ 174476 h 493337"/>
                <a:gd name="connsiteX68" fmla="*/ 177093 w 493337"/>
                <a:gd name="connsiteY68" fmla="*/ 190457 h 493337"/>
                <a:gd name="connsiteX69" fmla="*/ 251295 w 493337"/>
                <a:gd name="connsiteY69" fmla="*/ 255687 h 493337"/>
                <a:gd name="connsiteX70" fmla="*/ 304563 w 493337"/>
                <a:gd name="connsiteY70" fmla="*/ 211297 h 493337"/>
                <a:gd name="connsiteX71" fmla="*/ 307740 w 493337"/>
                <a:gd name="connsiteY71" fmla="*/ 175318 h 493337"/>
                <a:gd name="connsiteX72" fmla="*/ 307179 w 493337"/>
                <a:gd name="connsiteY72" fmla="*/ 174476 h 493337"/>
                <a:gd name="connsiteX73" fmla="*/ 198774 w 493337"/>
                <a:gd name="connsiteY73" fmla="*/ 281013 h 493337"/>
                <a:gd name="connsiteX74" fmla="*/ 223726 w 493337"/>
                <a:gd name="connsiteY74" fmla="*/ 296339 h 493337"/>
                <a:gd name="connsiteX75" fmla="*/ 242790 w 493337"/>
                <a:gd name="connsiteY75" fmla="*/ 308021 h 493337"/>
                <a:gd name="connsiteX76" fmla="*/ 259051 w 493337"/>
                <a:gd name="connsiteY76" fmla="*/ 298021 h 493337"/>
                <a:gd name="connsiteX77" fmla="*/ 287181 w 493337"/>
                <a:gd name="connsiteY77" fmla="*/ 280732 h 493337"/>
                <a:gd name="connsiteX78" fmla="*/ 289610 w 493337"/>
                <a:gd name="connsiteY78" fmla="*/ 277742 h 493337"/>
                <a:gd name="connsiteX79" fmla="*/ 289610 w 493337"/>
                <a:gd name="connsiteY79" fmla="*/ 264004 h 493337"/>
                <a:gd name="connsiteX80" fmla="*/ 195877 w 493337"/>
                <a:gd name="connsiteY80" fmla="*/ 264472 h 493337"/>
                <a:gd name="connsiteX81" fmla="*/ 195877 w 493337"/>
                <a:gd name="connsiteY81" fmla="*/ 276153 h 493337"/>
                <a:gd name="connsiteX82" fmla="*/ 198774 w 493337"/>
                <a:gd name="connsiteY82" fmla="*/ 281013 h 493337"/>
                <a:gd name="connsiteX83" fmla="*/ 246715 w 493337"/>
                <a:gd name="connsiteY83" fmla="*/ 0 h 493337"/>
                <a:gd name="connsiteX84" fmla="*/ 0 w 493337"/>
                <a:gd name="connsiteY84" fmla="*/ 246622 h 493337"/>
                <a:gd name="connsiteX85" fmla="*/ 246715 w 493337"/>
                <a:gd name="connsiteY85" fmla="*/ 493338 h 493337"/>
                <a:gd name="connsiteX86" fmla="*/ 493338 w 493337"/>
                <a:gd name="connsiteY86" fmla="*/ 246622 h 493337"/>
                <a:gd name="connsiteX87" fmla="*/ 246715 w 493337"/>
                <a:gd name="connsiteY87" fmla="*/ 0 h 493337"/>
                <a:gd name="connsiteX88" fmla="*/ 246715 w 493337"/>
                <a:gd name="connsiteY88" fmla="*/ 485114 h 493337"/>
                <a:gd name="connsiteX89" fmla="*/ 8224 w 493337"/>
                <a:gd name="connsiteY89" fmla="*/ 246622 h 493337"/>
                <a:gd name="connsiteX90" fmla="*/ 246715 w 493337"/>
                <a:gd name="connsiteY90" fmla="*/ 8224 h 493337"/>
                <a:gd name="connsiteX91" fmla="*/ 485207 w 493337"/>
                <a:gd name="connsiteY91" fmla="*/ 246715 h 493337"/>
                <a:gd name="connsiteX92" fmla="*/ 246715 w 493337"/>
                <a:gd name="connsiteY92" fmla="*/ 485207 h 49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93337" h="493337">
                  <a:moveTo>
                    <a:pt x="161393" y="152795"/>
                  </a:moveTo>
                  <a:cubicBezTo>
                    <a:pt x="162701" y="152982"/>
                    <a:pt x="164103" y="152982"/>
                    <a:pt x="165505" y="152982"/>
                  </a:cubicBezTo>
                  <a:cubicBezTo>
                    <a:pt x="216811" y="152982"/>
                    <a:pt x="268023" y="152982"/>
                    <a:pt x="319328" y="152982"/>
                  </a:cubicBezTo>
                  <a:cubicBezTo>
                    <a:pt x="320730" y="152982"/>
                    <a:pt x="322132" y="152982"/>
                    <a:pt x="323440" y="152795"/>
                  </a:cubicBezTo>
                  <a:cubicBezTo>
                    <a:pt x="329141" y="151954"/>
                    <a:pt x="333066" y="147282"/>
                    <a:pt x="332972" y="141581"/>
                  </a:cubicBezTo>
                  <a:cubicBezTo>
                    <a:pt x="332879" y="135974"/>
                    <a:pt x="328674" y="131395"/>
                    <a:pt x="322973" y="130741"/>
                  </a:cubicBezTo>
                  <a:cubicBezTo>
                    <a:pt x="321665" y="130554"/>
                    <a:pt x="320263" y="130554"/>
                    <a:pt x="318674" y="130460"/>
                  </a:cubicBezTo>
                  <a:cubicBezTo>
                    <a:pt x="317366" y="116629"/>
                    <a:pt x="313628" y="103826"/>
                    <a:pt x="305871" y="92425"/>
                  </a:cubicBezTo>
                  <a:cubicBezTo>
                    <a:pt x="298115" y="80930"/>
                    <a:pt x="288115" y="72052"/>
                    <a:pt x="274751" y="65697"/>
                  </a:cubicBezTo>
                  <a:cubicBezTo>
                    <a:pt x="274751" y="67847"/>
                    <a:pt x="274751" y="69155"/>
                    <a:pt x="274751" y="70557"/>
                  </a:cubicBezTo>
                  <a:cubicBezTo>
                    <a:pt x="274751" y="76725"/>
                    <a:pt x="274938" y="82986"/>
                    <a:pt x="274658" y="89154"/>
                  </a:cubicBezTo>
                  <a:cubicBezTo>
                    <a:pt x="274004" y="106069"/>
                    <a:pt x="260173" y="119433"/>
                    <a:pt x="243258" y="119900"/>
                  </a:cubicBezTo>
                  <a:cubicBezTo>
                    <a:pt x="225502" y="120367"/>
                    <a:pt x="210736" y="106536"/>
                    <a:pt x="210175" y="88780"/>
                  </a:cubicBezTo>
                  <a:cubicBezTo>
                    <a:pt x="209989" y="82425"/>
                    <a:pt x="210175" y="76071"/>
                    <a:pt x="210175" y="69716"/>
                  </a:cubicBezTo>
                  <a:cubicBezTo>
                    <a:pt x="210175" y="68594"/>
                    <a:pt x="209895" y="67473"/>
                    <a:pt x="209708" y="65697"/>
                  </a:cubicBezTo>
                  <a:cubicBezTo>
                    <a:pt x="183168" y="79809"/>
                    <a:pt x="169056" y="101303"/>
                    <a:pt x="166159" y="130741"/>
                  </a:cubicBezTo>
                  <a:cubicBezTo>
                    <a:pt x="164384" y="130741"/>
                    <a:pt x="163169" y="130647"/>
                    <a:pt x="161954" y="130741"/>
                  </a:cubicBezTo>
                  <a:cubicBezTo>
                    <a:pt x="156253" y="131395"/>
                    <a:pt x="152048" y="135880"/>
                    <a:pt x="151954" y="141581"/>
                  </a:cubicBezTo>
                  <a:cubicBezTo>
                    <a:pt x="151861" y="147282"/>
                    <a:pt x="155786" y="151954"/>
                    <a:pt x="161487" y="152795"/>
                  </a:cubicBezTo>
                  <a:close/>
                  <a:moveTo>
                    <a:pt x="184663" y="374933"/>
                  </a:moveTo>
                  <a:lnTo>
                    <a:pt x="184663" y="421940"/>
                  </a:lnTo>
                  <a:lnTo>
                    <a:pt x="299984" y="421940"/>
                  </a:lnTo>
                  <a:cubicBezTo>
                    <a:pt x="300825" y="416426"/>
                    <a:pt x="300638" y="377830"/>
                    <a:pt x="299703" y="374933"/>
                  </a:cubicBezTo>
                  <a:lnTo>
                    <a:pt x="184663" y="374933"/>
                  </a:lnTo>
                  <a:close/>
                  <a:moveTo>
                    <a:pt x="142329" y="295124"/>
                  </a:moveTo>
                  <a:cubicBezTo>
                    <a:pt x="126348" y="298582"/>
                    <a:pt x="111770" y="315777"/>
                    <a:pt x="111770" y="334374"/>
                  </a:cubicBezTo>
                  <a:cubicBezTo>
                    <a:pt x="111770" y="359513"/>
                    <a:pt x="111770" y="384558"/>
                    <a:pt x="111770" y="409697"/>
                  </a:cubicBezTo>
                  <a:cubicBezTo>
                    <a:pt x="111770" y="417921"/>
                    <a:pt x="116162" y="422220"/>
                    <a:pt x="124292" y="422220"/>
                  </a:cubicBezTo>
                  <a:cubicBezTo>
                    <a:pt x="134105" y="422220"/>
                    <a:pt x="143917" y="422220"/>
                    <a:pt x="153636" y="422220"/>
                  </a:cubicBezTo>
                  <a:lnTo>
                    <a:pt x="162888" y="422220"/>
                  </a:lnTo>
                  <a:lnTo>
                    <a:pt x="162888" y="417173"/>
                  </a:lnTo>
                  <a:cubicBezTo>
                    <a:pt x="162888" y="400072"/>
                    <a:pt x="162888" y="382970"/>
                    <a:pt x="162888" y="365868"/>
                  </a:cubicBezTo>
                  <a:cubicBezTo>
                    <a:pt x="162888" y="358485"/>
                    <a:pt x="165692" y="355121"/>
                    <a:pt x="172981" y="353532"/>
                  </a:cubicBezTo>
                  <a:cubicBezTo>
                    <a:pt x="173355" y="353532"/>
                    <a:pt x="173729" y="353252"/>
                    <a:pt x="174196" y="353065"/>
                  </a:cubicBezTo>
                  <a:lnTo>
                    <a:pt x="174196" y="287274"/>
                  </a:lnTo>
                  <a:cubicBezTo>
                    <a:pt x="172888" y="287554"/>
                    <a:pt x="171953" y="287648"/>
                    <a:pt x="171112" y="287835"/>
                  </a:cubicBezTo>
                  <a:cubicBezTo>
                    <a:pt x="161487" y="290265"/>
                    <a:pt x="151954" y="292975"/>
                    <a:pt x="142235" y="295124"/>
                  </a:cubicBezTo>
                  <a:close/>
                  <a:moveTo>
                    <a:pt x="242417" y="98593"/>
                  </a:moveTo>
                  <a:cubicBezTo>
                    <a:pt x="248491" y="98593"/>
                    <a:pt x="253164" y="93920"/>
                    <a:pt x="253257" y="87472"/>
                  </a:cubicBezTo>
                  <a:cubicBezTo>
                    <a:pt x="253351" y="79061"/>
                    <a:pt x="253351" y="70650"/>
                    <a:pt x="253257" y="62333"/>
                  </a:cubicBezTo>
                  <a:cubicBezTo>
                    <a:pt x="253257" y="55791"/>
                    <a:pt x="248585" y="51306"/>
                    <a:pt x="242323" y="51306"/>
                  </a:cubicBezTo>
                  <a:cubicBezTo>
                    <a:pt x="236155" y="51306"/>
                    <a:pt x="231576" y="55885"/>
                    <a:pt x="231483" y="62333"/>
                  </a:cubicBezTo>
                  <a:cubicBezTo>
                    <a:pt x="231483" y="66445"/>
                    <a:pt x="231483" y="70557"/>
                    <a:pt x="231483" y="74669"/>
                  </a:cubicBezTo>
                  <a:cubicBezTo>
                    <a:pt x="231483" y="78968"/>
                    <a:pt x="231483" y="83173"/>
                    <a:pt x="231483" y="87472"/>
                  </a:cubicBezTo>
                  <a:cubicBezTo>
                    <a:pt x="231670" y="93920"/>
                    <a:pt x="236249" y="98593"/>
                    <a:pt x="242417" y="98593"/>
                  </a:cubicBezTo>
                  <a:close/>
                  <a:moveTo>
                    <a:pt x="249706" y="328954"/>
                  </a:moveTo>
                  <a:cubicBezTo>
                    <a:pt x="245127" y="331758"/>
                    <a:pt x="240735" y="331944"/>
                    <a:pt x="236155" y="329141"/>
                  </a:cubicBezTo>
                  <a:cubicBezTo>
                    <a:pt x="224006" y="321571"/>
                    <a:pt x="211764" y="314095"/>
                    <a:pt x="199615" y="306619"/>
                  </a:cubicBezTo>
                  <a:cubicBezTo>
                    <a:pt x="198587" y="305965"/>
                    <a:pt x="197559" y="305404"/>
                    <a:pt x="196157" y="304656"/>
                  </a:cubicBezTo>
                  <a:lnTo>
                    <a:pt x="196157" y="353158"/>
                  </a:lnTo>
                  <a:lnTo>
                    <a:pt x="289423" y="353158"/>
                  </a:lnTo>
                  <a:lnTo>
                    <a:pt x="289423" y="304750"/>
                  </a:lnTo>
                  <a:cubicBezTo>
                    <a:pt x="288302" y="305310"/>
                    <a:pt x="287367" y="305684"/>
                    <a:pt x="286620" y="306151"/>
                  </a:cubicBezTo>
                  <a:cubicBezTo>
                    <a:pt x="274284" y="313721"/>
                    <a:pt x="261948" y="321291"/>
                    <a:pt x="249706" y="328954"/>
                  </a:cubicBezTo>
                  <a:close/>
                  <a:moveTo>
                    <a:pt x="343533" y="295311"/>
                  </a:moveTo>
                  <a:cubicBezTo>
                    <a:pt x="339140" y="294096"/>
                    <a:pt x="334748" y="292975"/>
                    <a:pt x="330356" y="291853"/>
                  </a:cubicBezTo>
                  <a:cubicBezTo>
                    <a:pt x="324094" y="290265"/>
                    <a:pt x="317833" y="288769"/>
                    <a:pt x="311291" y="287181"/>
                  </a:cubicBezTo>
                  <a:lnTo>
                    <a:pt x="311291" y="352971"/>
                  </a:lnTo>
                  <a:cubicBezTo>
                    <a:pt x="320263" y="355962"/>
                    <a:pt x="321852" y="358205"/>
                    <a:pt x="321852" y="367737"/>
                  </a:cubicBezTo>
                  <a:cubicBezTo>
                    <a:pt x="321852" y="384185"/>
                    <a:pt x="321852" y="400539"/>
                    <a:pt x="321852" y="416987"/>
                  </a:cubicBezTo>
                  <a:lnTo>
                    <a:pt x="321852" y="421940"/>
                  </a:lnTo>
                  <a:cubicBezTo>
                    <a:pt x="323440" y="422033"/>
                    <a:pt x="324562" y="422126"/>
                    <a:pt x="325590" y="422126"/>
                  </a:cubicBezTo>
                  <a:cubicBezTo>
                    <a:pt x="337271" y="422126"/>
                    <a:pt x="349046" y="422126"/>
                    <a:pt x="360728" y="422126"/>
                  </a:cubicBezTo>
                  <a:cubicBezTo>
                    <a:pt x="368391" y="422126"/>
                    <a:pt x="372970" y="417734"/>
                    <a:pt x="372970" y="410164"/>
                  </a:cubicBezTo>
                  <a:cubicBezTo>
                    <a:pt x="372970" y="384558"/>
                    <a:pt x="373157" y="358859"/>
                    <a:pt x="372970" y="333253"/>
                  </a:cubicBezTo>
                  <a:cubicBezTo>
                    <a:pt x="372783" y="315964"/>
                    <a:pt x="360167" y="300077"/>
                    <a:pt x="343626" y="295311"/>
                  </a:cubicBezTo>
                  <a:close/>
                  <a:moveTo>
                    <a:pt x="307086" y="174476"/>
                  </a:moveTo>
                  <a:lnTo>
                    <a:pt x="177093" y="174476"/>
                  </a:lnTo>
                  <a:cubicBezTo>
                    <a:pt x="177093" y="180084"/>
                    <a:pt x="177093" y="185224"/>
                    <a:pt x="177093" y="190457"/>
                  </a:cubicBezTo>
                  <a:cubicBezTo>
                    <a:pt x="177093" y="232230"/>
                    <a:pt x="214007" y="261388"/>
                    <a:pt x="251295" y="255687"/>
                  </a:cubicBezTo>
                  <a:cubicBezTo>
                    <a:pt x="277742" y="251668"/>
                    <a:pt x="295498" y="236436"/>
                    <a:pt x="304563" y="211297"/>
                  </a:cubicBezTo>
                  <a:cubicBezTo>
                    <a:pt x="308768" y="199615"/>
                    <a:pt x="308114" y="187373"/>
                    <a:pt x="307740" y="175318"/>
                  </a:cubicBezTo>
                  <a:cubicBezTo>
                    <a:pt x="307740" y="175131"/>
                    <a:pt x="307460" y="174850"/>
                    <a:pt x="307179" y="174476"/>
                  </a:cubicBezTo>
                  <a:close/>
                  <a:moveTo>
                    <a:pt x="198774" y="281013"/>
                  </a:moveTo>
                  <a:cubicBezTo>
                    <a:pt x="207185" y="286059"/>
                    <a:pt x="215409" y="291292"/>
                    <a:pt x="223726" y="296339"/>
                  </a:cubicBezTo>
                  <a:cubicBezTo>
                    <a:pt x="230081" y="300264"/>
                    <a:pt x="236342" y="304096"/>
                    <a:pt x="242790" y="308021"/>
                  </a:cubicBezTo>
                  <a:cubicBezTo>
                    <a:pt x="248304" y="304656"/>
                    <a:pt x="253724" y="301292"/>
                    <a:pt x="259051" y="298021"/>
                  </a:cubicBezTo>
                  <a:cubicBezTo>
                    <a:pt x="268397" y="292227"/>
                    <a:pt x="277835" y="286433"/>
                    <a:pt x="287181" y="280732"/>
                  </a:cubicBezTo>
                  <a:cubicBezTo>
                    <a:pt x="288302" y="279985"/>
                    <a:pt x="289610" y="279424"/>
                    <a:pt x="289610" y="277742"/>
                  </a:cubicBezTo>
                  <a:cubicBezTo>
                    <a:pt x="289610" y="273350"/>
                    <a:pt x="289610" y="268957"/>
                    <a:pt x="289610" y="264004"/>
                  </a:cubicBezTo>
                  <a:cubicBezTo>
                    <a:pt x="258397" y="282321"/>
                    <a:pt x="227371" y="282414"/>
                    <a:pt x="195877" y="264472"/>
                  </a:cubicBezTo>
                  <a:cubicBezTo>
                    <a:pt x="195877" y="268770"/>
                    <a:pt x="196064" y="272415"/>
                    <a:pt x="195877" y="276153"/>
                  </a:cubicBezTo>
                  <a:cubicBezTo>
                    <a:pt x="195690" y="278583"/>
                    <a:pt x="196812" y="279891"/>
                    <a:pt x="198774" y="281013"/>
                  </a:cubicBezTo>
                  <a:close/>
                  <a:moveTo>
                    <a:pt x="246715" y="0"/>
                  </a:moveTo>
                  <a:cubicBezTo>
                    <a:pt x="110648" y="0"/>
                    <a:pt x="0" y="110648"/>
                    <a:pt x="0" y="246622"/>
                  </a:cubicBezTo>
                  <a:cubicBezTo>
                    <a:pt x="0" y="382596"/>
                    <a:pt x="110648" y="493338"/>
                    <a:pt x="246715" y="493338"/>
                  </a:cubicBezTo>
                  <a:cubicBezTo>
                    <a:pt x="382783" y="493338"/>
                    <a:pt x="493338" y="382689"/>
                    <a:pt x="493338" y="246622"/>
                  </a:cubicBezTo>
                  <a:cubicBezTo>
                    <a:pt x="493338" y="110555"/>
                    <a:pt x="382689" y="0"/>
                    <a:pt x="246715" y="0"/>
                  </a:cubicBezTo>
                  <a:close/>
                  <a:moveTo>
                    <a:pt x="246715" y="485114"/>
                  </a:moveTo>
                  <a:cubicBezTo>
                    <a:pt x="115227" y="485114"/>
                    <a:pt x="8224" y="378110"/>
                    <a:pt x="8224" y="246622"/>
                  </a:cubicBezTo>
                  <a:cubicBezTo>
                    <a:pt x="8224" y="115134"/>
                    <a:pt x="115227" y="8224"/>
                    <a:pt x="246715" y="8224"/>
                  </a:cubicBezTo>
                  <a:cubicBezTo>
                    <a:pt x="378204" y="8224"/>
                    <a:pt x="485207" y="115227"/>
                    <a:pt x="485207" y="246715"/>
                  </a:cubicBezTo>
                  <a:cubicBezTo>
                    <a:pt x="485207" y="378204"/>
                    <a:pt x="378204" y="485207"/>
                    <a:pt x="246715" y="485207"/>
                  </a:cubicBezTo>
                  <a:close/>
                </a:path>
              </a:pathLst>
            </a:custGeom>
            <a:solidFill>
              <a:schemeClr val="accent3"/>
            </a:solidFill>
            <a:ln w="9345" cap="flat">
              <a:noFill/>
              <a:prstDash val="solid"/>
              <a:miter/>
            </a:ln>
          </p:spPr>
          <p:txBody>
            <a:bodyPr rtlCol="0" anchor="ctr"/>
            <a:lstStyle/>
            <a:p>
              <a:endParaRPr lang="en-US"/>
            </a:p>
          </p:txBody>
        </p:sp>
        <p:sp>
          <p:nvSpPr>
            <p:cNvPr id="41" name="Freeform 26">
              <a:extLst>
                <a:ext uri="{FF2B5EF4-FFF2-40B4-BE49-F238E27FC236}">
                  <a16:creationId xmlns:a16="http://schemas.microsoft.com/office/drawing/2014/main" id="{D4BBF4BE-A914-90BB-3E3E-6BC0846A70C4}"/>
                </a:ext>
              </a:extLst>
            </p:cNvPr>
            <p:cNvSpPr>
              <a:spLocks/>
            </p:cNvSpPr>
            <p:nvPr/>
          </p:nvSpPr>
          <p:spPr bwMode="auto">
            <a:xfrm>
              <a:off x="5907517" y="5697652"/>
              <a:ext cx="165100" cy="296863"/>
            </a:xfrm>
            <a:custGeom>
              <a:avLst/>
              <a:gdLst>
                <a:gd name="T0" fmla="*/ 24 w 25"/>
                <a:gd name="T1" fmla="*/ 21 h 45"/>
                <a:gd name="T2" fmla="*/ 4 w 25"/>
                <a:gd name="T3" fmla="*/ 1 h 45"/>
                <a:gd name="T4" fmla="*/ 1 w 25"/>
                <a:gd name="T5" fmla="*/ 0 h 45"/>
                <a:gd name="T6" fmla="*/ 0 w 25"/>
                <a:gd name="T7" fmla="*/ 3 h 45"/>
                <a:gd name="T8" fmla="*/ 0 w 25"/>
                <a:gd name="T9" fmla="*/ 43 h 45"/>
                <a:gd name="T10" fmla="*/ 1 w 25"/>
                <a:gd name="T11" fmla="*/ 45 h 45"/>
                <a:gd name="T12" fmla="*/ 2 w 25"/>
                <a:gd name="T13" fmla="*/ 45 h 45"/>
                <a:gd name="T14" fmla="*/ 4 w 25"/>
                <a:gd name="T15" fmla="*/ 44 h 45"/>
                <a:gd name="T16" fmla="*/ 24 w 25"/>
                <a:gd name="T17" fmla="*/ 24 h 45"/>
                <a:gd name="T18" fmla="*/ 25 w 25"/>
                <a:gd name="T19" fmla="*/ 23 h 45"/>
                <a:gd name="T20" fmla="*/ 24 w 25"/>
                <a:gd name="T21" fmla="*/ 2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5">
                  <a:moveTo>
                    <a:pt x="24" y="21"/>
                  </a:moveTo>
                  <a:cubicBezTo>
                    <a:pt x="4" y="1"/>
                    <a:pt x="4" y="1"/>
                    <a:pt x="4" y="1"/>
                  </a:cubicBezTo>
                  <a:cubicBezTo>
                    <a:pt x="3" y="0"/>
                    <a:pt x="2" y="0"/>
                    <a:pt x="1" y="0"/>
                  </a:cubicBezTo>
                  <a:cubicBezTo>
                    <a:pt x="0" y="1"/>
                    <a:pt x="0" y="2"/>
                    <a:pt x="0" y="3"/>
                  </a:cubicBezTo>
                  <a:cubicBezTo>
                    <a:pt x="0" y="43"/>
                    <a:pt x="0" y="43"/>
                    <a:pt x="0" y="43"/>
                  </a:cubicBezTo>
                  <a:cubicBezTo>
                    <a:pt x="0" y="44"/>
                    <a:pt x="0" y="45"/>
                    <a:pt x="1" y="45"/>
                  </a:cubicBezTo>
                  <a:cubicBezTo>
                    <a:pt x="2" y="45"/>
                    <a:pt x="2" y="45"/>
                    <a:pt x="2" y="45"/>
                  </a:cubicBezTo>
                  <a:cubicBezTo>
                    <a:pt x="3" y="45"/>
                    <a:pt x="3" y="45"/>
                    <a:pt x="4" y="44"/>
                  </a:cubicBezTo>
                  <a:cubicBezTo>
                    <a:pt x="24" y="24"/>
                    <a:pt x="24" y="24"/>
                    <a:pt x="24" y="24"/>
                  </a:cubicBezTo>
                  <a:cubicBezTo>
                    <a:pt x="24" y="24"/>
                    <a:pt x="25" y="23"/>
                    <a:pt x="25" y="23"/>
                  </a:cubicBezTo>
                  <a:cubicBezTo>
                    <a:pt x="25" y="22"/>
                    <a:pt x="24" y="21"/>
                    <a:pt x="24" y="21"/>
                  </a:cubicBezTo>
                  <a:close/>
                </a:path>
              </a:pathLst>
            </a:custGeom>
            <a:solidFill>
              <a:schemeClr val="bg1">
                <a:alpha val="50415"/>
              </a:schemeClr>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20705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5">
            <a:extLst>
              <a:ext uri="{FF2B5EF4-FFF2-40B4-BE49-F238E27FC236}">
                <a16:creationId xmlns:a16="http://schemas.microsoft.com/office/drawing/2014/main" id="{E16BEAA9-7493-8E10-3220-4B97B51302EA}"/>
              </a:ext>
            </a:extLst>
          </p:cNvPr>
          <p:cNvSpPr/>
          <p:nvPr/>
        </p:nvSpPr>
        <p:spPr>
          <a:xfrm>
            <a:off x="3843780" y="1671854"/>
            <a:ext cx="7974668" cy="4317552"/>
          </a:xfrm>
          <a:prstGeom prst="roundRect">
            <a:avLst>
              <a:gd name="adj" fmla="val 5573"/>
            </a:avLst>
          </a:prstGeom>
          <a:solidFill>
            <a:schemeClr val="bg1">
              <a:lumMod val="95000"/>
              <a:alpha val="99000"/>
            </a:schemeClr>
          </a:solidFill>
          <a:ln w="63500"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bg1">
                  <a:lumMod val="50000"/>
                </a:schemeClr>
              </a:solidFill>
            </a:endParaRPr>
          </a:p>
        </p:txBody>
      </p:sp>
      <p:sp>
        <p:nvSpPr>
          <p:cNvPr id="2" name="Title 2">
            <a:extLst>
              <a:ext uri="{FF2B5EF4-FFF2-40B4-BE49-F238E27FC236}">
                <a16:creationId xmlns:a16="http://schemas.microsoft.com/office/drawing/2014/main" id="{E689E7DC-6570-9449-9D9F-9AC02BAEB579}"/>
              </a:ext>
            </a:extLst>
          </p:cNvPr>
          <p:cNvSpPr>
            <a:spLocks noGrp="1"/>
          </p:cNvSpPr>
          <p:nvPr>
            <p:ph type="title"/>
          </p:nvPr>
        </p:nvSpPr>
        <p:spPr/>
        <p:txBody>
          <a:bodyPr>
            <a:noAutofit/>
          </a:bodyPr>
          <a:lstStyle/>
          <a:p>
            <a:r>
              <a:rPr lang="en-US" sz="3300" dirty="0">
                <a:cs typeface="Segoe UI"/>
              </a:rPr>
              <a:t>MESC is all about de-risking energy supply chains</a:t>
            </a:r>
          </a:p>
        </p:txBody>
      </p:sp>
      <p:grpSp>
        <p:nvGrpSpPr>
          <p:cNvPr id="5" name="Group 4">
            <a:extLst>
              <a:ext uri="{FF2B5EF4-FFF2-40B4-BE49-F238E27FC236}">
                <a16:creationId xmlns:a16="http://schemas.microsoft.com/office/drawing/2014/main" id="{4F5C2D7C-C05D-06F4-4DEC-DDD5E3825543}"/>
              </a:ext>
            </a:extLst>
          </p:cNvPr>
          <p:cNvGrpSpPr/>
          <p:nvPr/>
        </p:nvGrpSpPr>
        <p:grpSpPr>
          <a:xfrm>
            <a:off x="294048" y="1031518"/>
            <a:ext cx="3281600" cy="4957888"/>
            <a:chOff x="8264516" y="1669438"/>
            <a:chExt cx="3281600" cy="4957888"/>
          </a:xfrm>
        </p:grpSpPr>
        <p:sp>
          <p:nvSpPr>
            <p:cNvPr id="6" name="Rounded Rectangle 35">
              <a:extLst>
                <a:ext uri="{FF2B5EF4-FFF2-40B4-BE49-F238E27FC236}">
                  <a16:creationId xmlns:a16="http://schemas.microsoft.com/office/drawing/2014/main" id="{F1281A1F-F196-6913-138A-C34BF7AAAA0A}"/>
                </a:ext>
              </a:extLst>
            </p:cNvPr>
            <p:cNvSpPr/>
            <p:nvPr/>
          </p:nvSpPr>
          <p:spPr>
            <a:xfrm>
              <a:off x="8264516" y="2288108"/>
              <a:ext cx="3281600" cy="4339218"/>
            </a:xfrm>
            <a:prstGeom prst="roundRect">
              <a:avLst>
                <a:gd name="adj" fmla="val 5573"/>
              </a:avLst>
            </a:prstGeom>
            <a:solidFill>
              <a:schemeClr val="bg1">
                <a:lumMod val="95000"/>
                <a:alpha val="99000"/>
              </a:schemeClr>
            </a:solidFill>
            <a:ln w="63500"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dirty="0">
                <a:solidFill>
                  <a:schemeClr val="bg1">
                    <a:lumMod val="50000"/>
                  </a:schemeClr>
                </a:solidFill>
                <a:latin typeface="Figtree" pitchFamily="2" charset="0"/>
              </a:endParaRPr>
            </a:p>
          </p:txBody>
        </p:sp>
        <p:sp>
          <p:nvSpPr>
            <p:cNvPr id="10" name="Rectangle 9">
              <a:extLst>
                <a:ext uri="{FF2B5EF4-FFF2-40B4-BE49-F238E27FC236}">
                  <a16:creationId xmlns:a16="http://schemas.microsoft.com/office/drawing/2014/main" id="{9C37D044-DD20-AB38-C4DA-AC15F7780C39}"/>
                </a:ext>
              </a:extLst>
            </p:cNvPr>
            <p:cNvSpPr/>
            <p:nvPr/>
          </p:nvSpPr>
          <p:spPr>
            <a:xfrm>
              <a:off x="8415959" y="3141154"/>
              <a:ext cx="2978711" cy="430887"/>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wrap="square" lIns="0" tIns="0" rIns="0" bIns="0" anchor="t">
              <a:spAutoFit/>
            </a:bodyPr>
            <a:lstStyle/>
            <a:p>
              <a:pPr marL="0" lvl="3" algn="ctr"/>
              <a:r>
                <a:rPr lang="en-US" sz="2800" b="1" dirty="0">
                  <a:solidFill>
                    <a:schemeClr val="tx2"/>
                  </a:solidFill>
                  <a:latin typeface="Figtree" pitchFamily="2" charset="0"/>
                </a:rPr>
                <a:t>MESC’s Vision</a:t>
              </a:r>
            </a:p>
          </p:txBody>
        </p:sp>
        <p:sp>
          <p:nvSpPr>
            <p:cNvPr id="11" name="Oval 10">
              <a:extLst>
                <a:ext uri="{FF2B5EF4-FFF2-40B4-BE49-F238E27FC236}">
                  <a16:creationId xmlns:a16="http://schemas.microsoft.com/office/drawing/2014/main" id="{78DCB8EC-D7D0-0460-B033-D572302E2357}"/>
                </a:ext>
              </a:extLst>
            </p:cNvPr>
            <p:cNvSpPr/>
            <p:nvPr/>
          </p:nvSpPr>
          <p:spPr>
            <a:xfrm>
              <a:off x="9311695" y="1669438"/>
              <a:ext cx="1202873" cy="1202874"/>
            </a:xfrm>
            <a:prstGeom prst="ellipse">
              <a:avLst/>
            </a:prstGeom>
            <a:solidFill>
              <a:schemeClr val="tx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dirty="0">
                <a:solidFill>
                  <a:schemeClr val="bg1">
                    <a:lumMod val="50000"/>
                  </a:schemeClr>
                </a:solidFill>
                <a:latin typeface="Figtree" pitchFamily="2" charset="0"/>
              </a:endParaRPr>
            </a:p>
          </p:txBody>
        </p:sp>
        <p:sp>
          <p:nvSpPr>
            <p:cNvPr id="12" name="ee4pContent3">
              <a:extLst>
                <a:ext uri="{FF2B5EF4-FFF2-40B4-BE49-F238E27FC236}">
                  <a16:creationId xmlns:a16="http://schemas.microsoft.com/office/drawing/2014/main" id="{EE2B3210-7586-17AA-9BB2-9FB3B9826698}"/>
                </a:ext>
              </a:extLst>
            </p:cNvPr>
            <p:cNvSpPr txBox="1"/>
            <p:nvPr/>
          </p:nvSpPr>
          <p:spPr>
            <a:xfrm>
              <a:off x="8401912" y="3760350"/>
              <a:ext cx="2992758" cy="2215991"/>
            </a:xfrm>
            <a:prstGeom prst="rect">
              <a:avLst/>
            </a:prstGeom>
            <a:ln cap="rnd">
              <a:noFill/>
            </a:ln>
          </p:spPr>
          <p:txBody>
            <a:bodyPr vert="horz" wrap="square" lIns="91440" tIns="0" rIns="91440" bIns="0" rtlCol="0" anchor="ctr">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buSzPct val="100000"/>
              </a:pPr>
              <a:r>
                <a:rPr lang="en-US" sz="1800" dirty="0">
                  <a:solidFill>
                    <a:schemeClr val="tx2"/>
                  </a:solidFill>
                  <a:effectLst/>
                  <a:latin typeface="Figtree" pitchFamily="2" charset="0"/>
                  <a:cs typeface="Calibri" panose="020F0502020204030204" pitchFamily="34" charset="0"/>
                </a:rPr>
                <a:t>To </a:t>
              </a:r>
              <a:r>
                <a:rPr lang="en-US" sz="1800" b="1" dirty="0">
                  <a:solidFill>
                    <a:schemeClr val="tx2"/>
                  </a:solidFill>
                  <a:effectLst/>
                  <a:latin typeface="Figtree" pitchFamily="2" charset="0"/>
                  <a:cs typeface="Calibri" panose="020F0502020204030204" pitchFamily="34" charset="0"/>
                </a:rPr>
                <a:t>eliminate vulnerabilities in US clean energy supply chains</a:t>
              </a:r>
              <a:r>
                <a:rPr lang="en-US" sz="1800" dirty="0">
                  <a:solidFill>
                    <a:schemeClr val="tx2"/>
                  </a:solidFill>
                  <a:effectLst/>
                  <a:latin typeface="Figtree" pitchFamily="2" charset="0"/>
                  <a:cs typeface="Calibri" panose="020F0502020204030204" pitchFamily="34" charset="0"/>
                </a:rPr>
                <a:t>, while driving unparalleled social, economic, and environmental impact through our</a:t>
              </a:r>
              <a:r>
                <a:rPr lang="en-US" sz="1800" dirty="0">
                  <a:solidFill>
                    <a:schemeClr val="tx2"/>
                  </a:solidFill>
                  <a:latin typeface="Figtree" pitchFamily="2" charset="0"/>
                  <a:cs typeface="Calibri" panose="020F0502020204030204" pitchFamily="34" charset="0"/>
                </a:rPr>
                <a:t> </a:t>
              </a:r>
              <a:endParaRPr lang="en-US" sz="1800" dirty="0">
                <a:solidFill>
                  <a:schemeClr val="tx2"/>
                </a:solidFill>
                <a:effectLst/>
                <a:latin typeface="Figtree" pitchFamily="2" charset="0"/>
                <a:cs typeface="Calibri" panose="020F0502020204030204" pitchFamily="34" charset="0"/>
              </a:endParaRPr>
            </a:p>
            <a:p>
              <a:pPr algn="ctr">
                <a:buSzPct val="100000"/>
              </a:pPr>
              <a:r>
                <a:rPr lang="en-US" sz="1800" dirty="0">
                  <a:solidFill>
                    <a:schemeClr val="tx2"/>
                  </a:solidFill>
                  <a:effectLst/>
                  <a:latin typeface="Figtree" pitchFamily="2" charset="0"/>
                  <a:cs typeface="Calibri" panose="020F0502020204030204" pitchFamily="34" charset="0"/>
                </a:rPr>
                <a:t>Programs &amp; awards</a:t>
              </a:r>
              <a:endParaRPr lang="en-US" sz="1800" dirty="0">
                <a:solidFill>
                  <a:schemeClr val="tx2"/>
                </a:solidFill>
                <a:latin typeface="Figtree" pitchFamily="2" charset="0"/>
                <a:cs typeface="Calibri" panose="020F0502020204030204" pitchFamily="34" charset="0"/>
              </a:endParaRPr>
            </a:p>
          </p:txBody>
        </p:sp>
        <p:grpSp>
          <p:nvGrpSpPr>
            <p:cNvPr id="13" name="bcgBugs_Group Collaboration ">
              <a:extLst>
                <a:ext uri="{FF2B5EF4-FFF2-40B4-BE49-F238E27FC236}">
                  <a16:creationId xmlns:a16="http://schemas.microsoft.com/office/drawing/2014/main" id="{92D201F9-5F67-CE6A-2A33-AAE171C45D1B}"/>
                </a:ext>
              </a:extLst>
            </p:cNvPr>
            <p:cNvGrpSpPr>
              <a:grpSpLocks noChangeAspect="1"/>
            </p:cNvGrpSpPr>
            <p:nvPr/>
          </p:nvGrpSpPr>
          <p:grpSpPr bwMode="auto">
            <a:xfrm>
              <a:off x="9480099" y="1837841"/>
              <a:ext cx="866069" cy="866069"/>
              <a:chOff x="2652" y="972"/>
              <a:chExt cx="2376" cy="2376"/>
            </a:xfrm>
          </p:grpSpPr>
          <p:sp>
            <p:nvSpPr>
              <p:cNvPr id="14" name="AutoShape 3">
                <a:extLst>
                  <a:ext uri="{FF2B5EF4-FFF2-40B4-BE49-F238E27FC236}">
                    <a16:creationId xmlns:a16="http://schemas.microsoft.com/office/drawing/2014/main" id="{4251C005-B940-808A-5023-C596FA6FE77A}"/>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a:extLst>
                  <a:ext uri="{FF2B5EF4-FFF2-40B4-BE49-F238E27FC236}">
                    <a16:creationId xmlns:a16="http://schemas.microsoft.com/office/drawing/2014/main" id="{4D5AC596-CC8C-38A5-0970-C26D8C964EBF}"/>
                  </a:ext>
                </a:extLst>
              </p:cNvPr>
              <p:cNvSpPr>
                <a:spLocks noEditPoints="1"/>
              </p:cNvSpPr>
              <p:nvPr/>
            </p:nvSpPr>
            <p:spPr bwMode="auto">
              <a:xfrm>
                <a:off x="2897" y="1119"/>
                <a:ext cx="1889" cy="2084"/>
              </a:xfrm>
              <a:custGeom>
                <a:avLst/>
                <a:gdLst>
                  <a:gd name="T0" fmla="*/ 368 w 794"/>
                  <a:gd name="T1" fmla="*/ 489 h 876"/>
                  <a:gd name="T2" fmla="*/ 387 w 794"/>
                  <a:gd name="T3" fmla="*/ 635 h 876"/>
                  <a:gd name="T4" fmla="*/ 407 w 794"/>
                  <a:gd name="T5" fmla="*/ 635 h 876"/>
                  <a:gd name="T6" fmla="*/ 381 w 794"/>
                  <a:gd name="T7" fmla="*/ 835 h 876"/>
                  <a:gd name="T8" fmla="*/ 344 w 794"/>
                  <a:gd name="T9" fmla="*/ 790 h 876"/>
                  <a:gd name="T10" fmla="*/ 337 w 794"/>
                  <a:gd name="T11" fmla="*/ 749 h 876"/>
                  <a:gd name="T12" fmla="*/ 348 w 794"/>
                  <a:gd name="T13" fmla="*/ 721 h 876"/>
                  <a:gd name="T14" fmla="*/ 338 w 794"/>
                  <a:gd name="T15" fmla="*/ 684 h 876"/>
                  <a:gd name="T16" fmla="*/ 397 w 794"/>
                  <a:gd name="T17" fmla="*/ 406 h 876"/>
                  <a:gd name="T18" fmla="*/ 397 w 794"/>
                  <a:gd name="T19" fmla="*/ 406 h 876"/>
                  <a:gd name="T20" fmla="*/ 456 w 794"/>
                  <a:gd name="T21" fmla="*/ 437 h 876"/>
                  <a:gd name="T22" fmla="*/ 576 w 794"/>
                  <a:gd name="T23" fmla="*/ 345 h 876"/>
                  <a:gd name="T24" fmla="*/ 555 w 794"/>
                  <a:gd name="T25" fmla="*/ 276 h 876"/>
                  <a:gd name="T26" fmla="*/ 619 w 794"/>
                  <a:gd name="T27" fmla="*/ 260 h 876"/>
                  <a:gd name="T28" fmla="*/ 673 w 794"/>
                  <a:gd name="T29" fmla="*/ 197 h 876"/>
                  <a:gd name="T30" fmla="*/ 699 w 794"/>
                  <a:gd name="T31" fmla="*/ 346 h 876"/>
                  <a:gd name="T32" fmla="*/ 654 w 794"/>
                  <a:gd name="T33" fmla="*/ 325 h 876"/>
                  <a:gd name="T34" fmla="*/ 620 w 794"/>
                  <a:gd name="T35" fmla="*/ 291 h 876"/>
                  <a:gd name="T36" fmla="*/ 218 w 794"/>
                  <a:gd name="T37" fmla="*/ 345 h 876"/>
                  <a:gd name="T38" fmla="*/ 346 w 794"/>
                  <a:gd name="T39" fmla="*/ 407 h 876"/>
                  <a:gd name="T40" fmla="*/ 334 w 794"/>
                  <a:gd name="T41" fmla="*/ 389 h 876"/>
                  <a:gd name="T42" fmla="*/ 0 w 794"/>
                  <a:gd name="T43" fmla="*/ 276 h 876"/>
                  <a:gd name="T44" fmla="*/ 178 w 794"/>
                  <a:gd name="T45" fmla="*/ 205 h 876"/>
                  <a:gd name="T46" fmla="*/ 168 w 794"/>
                  <a:gd name="T47" fmla="*/ 242 h 876"/>
                  <a:gd name="T48" fmla="*/ 179 w 794"/>
                  <a:gd name="T49" fmla="*/ 270 h 876"/>
                  <a:gd name="T50" fmla="*/ 173 w 794"/>
                  <a:gd name="T51" fmla="*/ 311 h 876"/>
                  <a:gd name="T52" fmla="*/ 136 w 794"/>
                  <a:gd name="T53" fmla="*/ 356 h 876"/>
                  <a:gd name="T54" fmla="*/ 58 w 794"/>
                  <a:gd name="T55" fmla="*/ 233 h 876"/>
                  <a:gd name="T56" fmla="*/ 423 w 794"/>
                  <a:gd name="T57" fmla="*/ 382 h 876"/>
                  <a:gd name="T58" fmla="*/ 407 w 794"/>
                  <a:gd name="T59" fmla="*/ 356 h 876"/>
                  <a:gd name="T60" fmla="*/ 277 w 794"/>
                  <a:gd name="T61" fmla="*/ 120 h 876"/>
                  <a:gd name="T62" fmla="*/ 456 w 794"/>
                  <a:gd name="T63" fmla="*/ 49 h 876"/>
                  <a:gd name="T64" fmla="*/ 446 w 794"/>
                  <a:gd name="T65" fmla="*/ 86 h 876"/>
                  <a:gd name="T66" fmla="*/ 457 w 794"/>
                  <a:gd name="T67" fmla="*/ 114 h 876"/>
                  <a:gd name="T68" fmla="*/ 450 w 794"/>
                  <a:gd name="T69" fmla="*/ 154 h 876"/>
                  <a:gd name="T70" fmla="*/ 413 w 794"/>
                  <a:gd name="T71" fmla="*/ 199 h 876"/>
                  <a:gd name="T72" fmla="*/ 335 w 794"/>
                  <a:gd name="T73" fmla="*/ 77 h 876"/>
                  <a:gd name="T74" fmla="*/ 338 w 794"/>
                  <a:gd name="T75" fmla="*/ 435 h 876"/>
                  <a:gd name="T76" fmla="*/ 218 w 794"/>
                  <a:gd name="T77" fmla="*/ 526 h 876"/>
                  <a:gd name="T78" fmla="*/ 239 w 794"/>
                  <a:gd name="T79" fmla="*/ 594 h 876"/>
                  <a:gd name="T80" fmla="*/ 174 w 794"/>
                  <a:gd name="T81" fmla="*/ 609 h 876"/>
                  <a:gd name="T82" fmla="*/ 140 w 794"/>
                  <a:gd name="T83" fmla="*/ 643 h 876"/>
                  <a:gd name="T84" fmla="*/ 95 w 794"/>
                  <a:gd name="T85" fmla="*/ 663 h 876"/>
                  <a:gd name="T86" fmla="*/ 121 w 794"/>
                  <a:gd name="T87" fmla="*/ 517 h 876"/>
                  <a:gd name="T88" fmla="*/ 175 w 794"/>
                  <a:gd name="T89" fmla="*/ 578 h 876"/>
                  <a:gd name="T90" fmla="*/ 576 w 794"/>
                  <a:gd name="T91" fmla="*/ 526 h 876"/>
                  <a:gd name="T92" fmla="*/ 429 w 794"/>
                  <a:gd name="T93" fmla="*/ 485 h 876"/>
                  <a:gd name="T94" fmla="*/ 566 w 794"/>
                  <a:gd name="T95" fmla="*/ 544 h 876"/>
                  <a:gd name="T96" fmla="*/ 675 w 794"/>
                  <a:gd name="T97" fmla="*/ 475 h 876"/>
                  <a:gd name="T98" fmla="*/ 658 w 794"/>
                  <a:gd name="T99" fmla="*/ 674 h 876"/>
                  <a:gd name="T100" fmla="*/ 621 w 794"/>
                  <a:gd name="T101" fmla="*/ 629 h 876"/>
                  <a:gd name="T102" fmla="*/ 615 w 794"/>
                  <a:gd name="T103" fmla="*/ 589 h 876"/>
                  <a:gd name="T104" fmla="*/ 626 w 794"/>
                  <a:gd name="T105" fmla="*/ 561 h 876"/>
                  <a:gd name="T106" fmla="*/ 616 w 794"/>
                  <a:gd name="T107" fmla="*/ 5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4" h="876">
                    <a:moveTo>
                      <a:pt x="407" y="635"/>
                    </a:moveTo>
                    <a:cubicBezTo>
                      <a:pt x="407" y="507"/>
                      <a:pt x="407" y="507"/>
                      <a:pt x="407" y="507"/>
                    </a:cubicBezTo>
                    <a:cubicBezTo>
                      <a:pt x="407" y="501"/>
                      <a:pt x="403" y="496"/>
                      <a:pt x="397" y="496"/>
                    </a:cubicBezTo>
                    <a:cubicBezTo>
                      <a:pt x="387" y="496"/>
                      <a:pt x="377" y="494"/>
                      <a:pt x="368" y="489"/>
                    </a:cubicBezTo>
                    <a:cubicBezTo>
                      <a:pt x="363" y="486"/>
                      <a:pt x="357" y="488"/>
                      <a:pt x="354" y="493"/>
                    </a:cubicBezTo>
                    <a:cubicBezTo>
                      <a:pt x="352" y="498"/>
                      <a:pt x="353" y="504"/>
                      <a:pt x="358" y="507"/>
                    </a:cubicBezTo>
                    <a:cubicBezTo>
                      <a:pt x="367" y="512"/>
                      <a:pt x="377" y="515"/>
                      <a:pt x="387" y="517"/>
                    </a:cubicBezTo>
                    <a:cubicBezTo>
                      <a:pt x="387" y="635"/>
                      <a:pt x="387" y="635"/>
                      <a:pt x="387" y="635"/>
                    </a:cubicBezTo>
                    <a:cubicBezTo>
                      <a:pt x="325" y="640"/>
                      <a:pt x="277" y="692"/>
                      <a:pt x="277" y="755"/>
                    </a:cubicBezTo>
                    <a:cubicBezTo>
                      <a:pt x="277" y="822"/>
                      <a:pt x="331" y="876"/>
                      <a:pt x="397" y="876"/>
                    </a:cubicBezTo>
                    <a:cubicBezTo>
                      <a:pt x="463" y="876"/>
                      <a:pt x="517" y="822"/>
                      <a:pt x="517" y="755"/>
                    </a:cubicBezTo>
                    <a:cubicBezTo>
                      <a:pt x="517" y="692"/>
                      <a:pt x="469" y="640"/>
                      <a:pt x="407" y="635"/>
                    </a:cubicBezTo>
                    <a:close/>
                    <a:moveTo>
                      <a:pt x="438" y="787"/>
                    </a:moveTo>
                    <a:cubicBezTo>
                      <a:pt x="438" y="822"/>
                      <a:pt x="438" y="822"/>
                      <a:pt x="438" y="822"/>
                    </a:cubicBezTo>
                    <a:cubicBezTo>
                      <a:pt x="438" y="824"/>
                      <a:pt x="437" y="825"/>
                      <a:pt x="436" y="826"/>
                    </a:cubicBezTo>
                    <a:cubicBezTo>
                      <a:pt x="413" y="835"/>
                      <a:pt x="383" y="835"/>
                      <a:pt x="381" y="835"/>
                    </a:cubicBezTo>
                    <a:cubicBezTo>
                      <a:pt x="378" y="835"/>
                      <a:pt x="377" y="834"/>
                      <a:pt x="377" y="832"/>
                    </a:cubicBezTo>
                    <a:cubicBezTo>
                      <a:pt x="377" y="808"/>
                      <a:pt x="377" y="808"/>
                      <a:pt x="377" y="808"/>
                    </a:cubicBezTo>
                    <a:cubicBezTo>
                      <a:pt x="363" y="809"/>
                      <a:pt x="352" y="807"/>
                      <a:pt x="349" y="806"/>
                    </a:cubicBezTo>
                    <a:cubicBezTo>
                      <a:pt x="345" y="804"/>
                      <a:pt x="345" y="799"/>
                      <a:pt x="344" y="790"/>
                    </a:cubicBezTo>
                    <a:cubicBezTo>
                      <a:pt x="344" y="789"/>
                      <a:pt x="344" y="789"/>
                      <a:pt x="344" y="789"/>
                    </a:cubicBezTo>
                    <a:cubicBezTo>
                      <a:pt x="344" y="783"/>
                      <a:pt x="344" y="775"/>
                      <a:pt x="345" y="770"/>
                    </a:cubicBezTo>
                    <a:cubicBezTo>
                      <a:pt x="334" y="769"/>
                      <a:pt x="331" y="764"/>
                      <a:pt x="331" y="762"/>
                    </a:cubicBezTo>
                    <a:cubicBezTo>
                      <a:pt x="329" y="758"/>
                      <a:pt x="333" y="754"/>
                      <a:pt x="337" y="749"/>
                    </a:cubicBezTo>
                    <a:cubicBezTo>
                      <a:pt x="338" y="749"/>
                      <a:pt x="338" y="748"/>
                      <a:pt x="339" y="748"/>
                    </a:cubicBezTo>
                    <a:cubicBezTo>
                      <a:pt x="340" y="746"/>
                      <a:pt x="342" y="741"/>
                      <a:pt x="344" y="736"/>
                    </a:cubicBezTo>
                    <a:cubicBezTo>
                      <a:pt x="345" y="735"/>
                      <a:pt x="345" y="733"/>
                      <a:pt x="346" y="730"/>
                    </a:cubicBezTo>
                    <a:cubicBezTo>
                      <a:pt x="346" y="727"/>
                      <a:pt x="347" y="724"/>
                      <a:pt x="348" y="721"/>
                    </a:cubicBezTo>
                    <a:cubicBezTo>
                      <a:pt x="349" y="718"/>
                      <a:pt x="350" y="710"/>
                      <a:pt x="350" y="705"/>
                    </a:cubicBezTo>
                    <a:cubicBezTo>
                      <a:pt x="349" y="704"/>
                      <a:pt x="348" y="705"/>
                      <a:pt x="348" y="705"/>
                    </a:cubicBezTo>
                    <a:cubicBezTo>
                      <a:pt x="348" y="705"/>
                      <a:pt x="348" y="705"/>
                      <a:pt x="348" y="704"/>
                    </a:cubicBezTo>
                    <a:cubicBezTo>
                      <a:pt x="346" y="697"/>
                      <a:pt x="334" y="684"/>
                      <a:pt x="338" y="684"/>
                    </a:cubicBezTo>
                    <a:cubicBezTo>
                      <a:pt x="374" y="685"/>
                      <a:pt x="363" y="675"/>
                      <a:pt x="401" y="675"/>
                    </a:cubicBezTo>
                    <a:cubicBezTo>
                      <a:pt x="434" y="675"/>
                      <a:pt x="451" y="695"/>
                      <a:pt x="459" y="712"/>
                    </a:cubicBezTo>
                    <a:cubicBezTo>
                      <a:pt x="473" y="744"/>
                      <a:pt x="450" y="775"/>
                      <a:pt x="438" y="787"/>
                    </a:cubicBezTo>
                    <a:close/>
                    <a:moveTo>
                      <a:pt x="397" y="406"/>
                    </a:moveTo>
                    <a:cubicBezTo>
                      <a:pt x="380" y="406"/>
                      <a:pt x="366" y="420"/>
                      <a:pt x="366" y="437"/>
                    </a:cubicBezTo>
                    <a:cubicBezTo>
                      <a:pt x="366" y="454"/>
                      <a:pt x="380" y="468"/>
                      <a:pt x="397" y="468"/>
                    </a:cubicBezTo>
                    <a:cubicBezTo>
                      <a:pt x="414" y="468"/>
                      <a:pt x="428" y="454"/>
                      <a:pt x="428" y="437"/>
                    </a:cubicBezTo>
                    <a:cubicBezTo>
                      <a:pt x="428" y="420"/>
                      <a:pt x="414" y="406"/>
                      <a:pt x="397" y="406"/>
                    </a:cubicBezTo>
                    <a:close/>
                    <a:moveTo>
                      <a:pt x="452" y="393"/>
                    </a:moveTo>
                    <a:cubicBezTo>
                      <a:pt x="448" y="396"/>
                      <a:pt x="446" y="401"/>
                      <a:pt x="447" y="405"/>
                    </a:cubicBezTo>
                    <a:cubicBezTo>
                      <a:pt x="448" y="406"/>
                      <a:pt x="448" y="407"/>
                      <a:pt x="448" y="408"/>
                    </a:cubicBezTo>
                    <a:cubicBezTo>
                      <a:pt x="454" y="417"/>
                      <a:pt x="456" y="427"/>
                      <a:pt x="456" y="437"/>
                    </a:cubicBezTo>
                    <a:cubicBezTo>
                      <a:pt x="456" y="443"/>
                      <a:pt x="461" y="447"/>
                      <a:pt x="466" y="447"/>
                    </a:cubicBezTo>
                    <a:cubicBezTo>
                      <a:pt x="472" y="447"/>
                      <a:pt x="476" y="443"/>
                      <a:pt x="476" y="437"/>
                    </a:cubicBezTo>
                    <a:cubicBezTo>
                      <a:pt x="476" y="426"/>
                      <a:pt x="474" y="416"/>
                      <a:pt x="470" y="406"/>
                    </a:cubicBezTo>
                    <a:cubicBezTo>
                      <a:pt x="576" y="345"/>
                      <a:pt x="576" y="345"/>
                      <a:pt x="576" y="345"/>
                    </a:cubicBezTo>
                    <a:cubicBezTo>
                      <a:pt x="598" y="376"/>
                      <a:pt x="633" y="397"/>
                      <a:pt x="675" y="397"/>
                    </a:cubicBezTo>
                    <a:cubicBezTo>
                      <a:pt x="741" y="397"/>
                      <a:pt x="794" y="343"/>
                      <a:pt x="794" y="276"/>
                    </a:cubicBezTo>
                    <a:cubicBezTo>
                      <a:pt x="794" y="210"/>
                      <a:pt x="741" y="155"/>
                      <a:pt x="675" y="155"/>
                    </a:cubicBezTo>
                    <a:cubicBezTo>
                      <a:pt x="608" y="155"/>
                      <a:pt x="555" y="210"/>
                      <a:pt x="555" y="276"/>
                    </a:cubicBezTo>
                    <a:cubicBezTo>
                      <a:pt x="555" y="295"/>
                      <a:pt x="558" y="312"/>
                      <a:pt x="566" y="327"/>
                    </a:cubicBezTo>
                    <a:cubicBezTo>
                      <a:pt x="452" y="393"/>
                      <a:pt x="452" y="393"/>
                      <a:pt x="452" y="393"/>
                    </a:cubicBezTo>
                    <a:close/>
                    <a:moveTo>
                      <a:pt x="612" y="270"/>
                    </a:moveTo>
                    <a:cubicBezTo>
                      <a:pt x="615" y="267"/>
                      <a:pt x="617" y="263"/>
                      <a:pt x="619" y="260"/>
                    </a:cubicBezTo>
                    <a:cubicBezTo>
                      <a:pt x="620" y="258"/>
                      <a:pt x="620" y="250"/>
                      <a:pt x="620" y="245"/>
                    </a:cubicBezTo>
                    <a:cubicBezTo>
                      <a:pt x="619" y="235"/>
                      <a:pt x="623" y="229"/>
                      <a:pt x="625" y="226"/>
                    </a:cubicBezTo>
                    <a:cubicBezTo>
                      <a:pt x="624" y="225"/>
                      <a:pt x="623" y="224"/>
                      <a:pt x="622" y="222"/>
                    </a:cubicBezTo>
                    <a:cubicBezTo>
                      <a:pt x="620" y="215"/>
                      <a:pt x="636" y="197"/>
                      <a:pt x="673" y="197"/>
                    </a:cubicBezTo>
                    <a:cubicBezTo>
                      <a:pt x="706" y="197"/>
                      <a:pt x="725" y="215"/>
                      <a:pt x="733" y="232"/>
                    </a:cubicBezTo>
                    <a:cubicBezTo>
                      <a:pt x="760" y="289"/>
                      <a:pt x="724" y="316"/>
                      <a:pt x="702" y="325"/>
                    </a:cubicBezTo>
                    <a:cubicBezTo>
                      <a:pt x="701" y="343"/>
                      <a:pt x="701" y="343"/>
                      <a:pt x="701" y="343"/>
                    </a:cubicBezTo>
                    <a:cubicBezTo>
                      <a:pt x="701" y="344"/>
                      <a:pt x="700" y="345"/>
                      <a:pt x="699" y="346"/>
                    </a:cubicBezTo>
                    <a:cubicBezTo>
                      <a:pt x="685" y="354"/>
                      <a:pt x="668" y="355"/>
                      <a:pt x="660" y="355"/>
                    </a:cubicBezTo>
                    <a:cubicBezTo>
                      <a:pt x="657" y="355"/>
                      <a:pt x="657" y="355"/>
                      <a:pt x="657" y="355"/>
                    </a:cubicBezTo>
                    <a:cubicBezTo>
                      <a:pt x="655" y="354"/>
                      <a:pt x="654" y="353"/>
                      <a:pt x="654" y="351"/>
                    </a:cubicBezTo>
                    <a:cubicBezTo>
                      <a:pt x="654" y="325"/>
                      <a:pt x="654" y="325"/>
                      <a:pt x="654" y="325"/>
                    </a:cubicBezTo>
                    <a:cubicBezTo>
                      <a:pt x="650" y="325"/>
                      <a:pt x="645" y="325"/>
                      <a:pt x="643" y="325"/>
                    </a:cubicBezTo>
                    <a:cubicBezTo>
                      <a:pt x="629" y="325"/>
                      <a:pt x="626" y="324"/>
                      <a:pt x="624" y="322"/>
                    </a:cubicBezTo>
                    <a:cubicBezTo>
                      <a:pt x="622" y="320"/>
                      <a:pt x="620" y="316"/>
                      <a:pt x="620" y="302"/>
                    </a:cubicBezTo>
                    <a:cubicBezTo>
                      <a:pt x="620" y="291"/>
                      <a:pt x="620" y="291"/>
                      <a:pt x="620" y="291"/>
                    </a:cubicBezTo>
                    <a:cubicBezTo>
                      <a:pt x="612" y="290"/>
                      <a:pt x="607" y="286"/>
                      <a:pt x="606" y="283"/>
                    </a:cubicBezTo>
                    <a:cubicBezTo>
                      <a:pt x="605" y="280"/>
                      <a:pt x="609" y="274"/>
                      <a:pt x="612" y="270"/>
                    </a:cubicBezTo>
                    <a:close/>
                    <a:moveTo>
                      <a:pt x="119" y="397"/>
                    </a:moveTo>
                    <a:cubicBezTo>
                      <a:pt x="161" y="397"/>
                      <a:pt x="196" y="376"/>
                      <a:pt x="218" y="345"/>
                    </a:cubicBezTo>
                    <a:cubicBezTo>
                      <a:pt x="332" y="411"/>
                      <a:pt x="332" y="411"/>
                      <a:pt x="332" y="411"/>
                    </a:cubicBezTo>
                    <a:cubicBezTo>
                      <a:pt x="333" y="412"/>
                      <a:pt x="335" y="413"/>
                      <a:pt x="337" y="413"/>
                    </a:cubicBezTo>
                    <a:cubicBezTo>
                      <a:pt x="340" y="413"/>
                      <a:pt x="344" y="411"/>
                      <a:pt x="346" y="408"/>
                    </a:cubicBezTo>
                    <a:cubicBezTo>
                      <a:pt x="346" y="407"/>
                      <a:pt x="346" y="407"/>
                      <a:pt x="346" y="407"/>
                    </a:cubicBezTo>
                    <a:cubicBezTo>
                      <a:pt x="351" y="398"/>
                      <a:pt x="359" y="390"/>
                      <a:pt x="368" y="385"/>
                    </a:cubicBezTo>
                    <a:cubicBezTo>
                      <a:pt x="373" y="382"/>
                      <a:pt x="375" y="376"/>
                      <a:pt x="372" y="371"/>
                    </a:cubicBezTo>
                    <a:cubicBezTo>
                      <a:pt x="369" y="366"/>
                      <a:pt x="363" y="365"/>
                      <a:pt x="358" y="368"/>
                    </a:cubicBezTo>
                    <a:cubicBezTo>
                      <a:pt x="349" y="373"/>
                      <a:pt x="340" y="380"/>
                      <a:pt x="334" y="389"/>
                    </a:cubicBezTo>
                    <a:cubicBezTo>
                      <a:pt x="228" y="327"/>
                      <a:pt x="228" y="327"/>
                      <a:pt x="228" y="327"/>
                    </a:cubicBezTo>
                    <a:cubicBezTo>
                      <a:pt x="236" y="312"/>
                      <a:pt x="239" y="295"/>
                      <a:pt x="239" y="276"/>
                    </a:cubicBezTo>
                    <a:cubicBezTo>
                      <a:pt x="239" y="210"/>
                      <a:pt x="186" y="155"/>
                      <a:pt x="119" y="155"/>
                    </a:cubicBezTo>
                    <a:cubicBezTo>
                      <a:pt x="53" y="155"/>
                      <a:pt x="0" y="210"/>
                      <a:pt x="0" y="276"/>
                    </a:cubicBezTo>
                    <a:cubicBezTo>
                      <a:pt x="0" y="343"/>
                      <a:pt x="53" y="397"/>
                      <a:pt x="119" y="397"/>
                    </a:cubicBezTo>
                    <a:close/>
                    <a:moveTo>
                      <a:pt x="58" y="233"/>
                    </a:moveTo>
                    <a:cubicBezTo>
                      <a:pt x="66" y="216"/>
                      <a:pt x="82" y="196"/>
                      <a:pt x="116" y="196"/>
                    </a:cubicBezTo>
                    <a:cubicBezTo>
                      <a:pt x="154" y="196"/>
                      <a:pt x="143" y="206"/>
                      <a:pt x="178" y="205"/>
                    </a:cubicBezTo>
                    <a:cubicBezTo>
                      <a:pt x="182" y="205"/>
                      <a:pt x="171" y="218"/>
                      <a:pt x="169" y="225"/>
                    </a:cubicBezTo>
                    <a:cubicBezTo>
                      <a:pt x="168" y="226"/>
                      <a:pt x="168" y="226"/>
                      <a:pt x="168" y="226"/>
                    </a:cubicBezTo>
                    <a:cubicBezTo>
                      <a:pt x="168" y="226"/>
                      <a:pt x="167" y="225"/>
                      <a:pt x="167" y="226"/>
                    </a:cubicBezTo>
                    <a:cubicBezTo>
                      <a:pt x="167" y="231"/>
                      <a:pt x="168" y="239"/>
                      <a:pt x="168" y="242"/>
                    </a:cubicBezTo>
                    <a:cubicBezTo>
                      <a:pt x="169" y="245"/>
                      <a:pt x="170" y="248"/>
                      <a:pt x="171" y="251"/>
                    </a:cubicBezTo>
                    <a:cubicBezTo>
                      <a:pt x="171" y="253"/>
                      <a:pt x="172" y="256"/>
                      <a:pt x="172" y="257"/>
                    </a:cubicBezTo>
                    <a:cubicBezTo>
                      <a:pt x="174" y="262"/>
                      <a:pt x="176" y="267"/>
                      <a:pt x="178" y="269"/>
                    </a:cubicBezTo>
                    <a:cubicBezTo>
                      <a:pt x="179" y="269"/>
                      <a:pt x="179" y="270"/>
                      <a:pt x="179" y="270"/>
                    </a:cubicBezTo>
                    <a:cubicBezTo>
                      <a:pt x="183" y="274"/>
                      <a:pt x="187" y="279"/>
                      <a:pt x="186" y="283"/>
                    </a:cubicBezTo>
                    <a:cubicBezTo>
                      <a:pt x="185" y="285"/>
                      <a:pt x="182" y="290"/>
                      <a:pt x="172" y="291"/>
                    </a:cubicBezTo>
                    <a:cubicBezTo>
                      <a:pt x="172" y="296"/>
                      <a:pt x="173" y="304"/>
                      <a:pt x="173" y="310"/>
                    </a:cubicBezTo>
                    <a:cubicBezTo>
                      <a:pt x="173" y="311"/>
                      <a:pt x="173" y="311"/>
                      <a:pt x="173" y="311"/>
                    </a:cubicBezTo>
                    <a:cubicBezTo>
                      <a:pt x="172" y="320"/>
                      <a:pt x="172" y="325"/>
                      <a:pt x="168" y="327"/>
                    </a:cubicBezTo>
                    <a:cubicBezTo>
                      <a:pt x="165" y="328"/>
                      <a:pt x="154" y="330"/>
                      <a:pt x="139" y="329"/>
                    </a:cubicBezTo>
                    <a:cubicBezTo>
                      <a:pt x="139" y="353"/>
                      <a:pt x="139" y="353"/>
                      <a:pt x="139" y="353"/>
                    </a:cubicBezTo>
                    <a:cubicBezTo>
                      <a:pt x="139" y="355"/>
                      <a:pt x="138" y="356"/>
                      <a:pt x="136" y="356"/>
                    </a:cubicBezTo>
                    <a:cubicBezTo>
                      <a:pt x="134" y="356"/>
                      <a:pt x="104" y="356"/>
                      <a:pt x="80" y="346"/>
                    </a:cubicBezTo>
                    <a:cubicBezTo>
                      <a:pt x="79" y="346"/>
                      <a:pt x="78" y="345"/>
                      <a:pt x="78" y="343"/>
                    </a:cubicBezTo>
                    <a:cubicBezTo>
                      <a:pt x="78" y="308"/>
                      <a:pt x="78" y="308"/>
                      <a:pt x="78" y="308"/>
                    </a:cubicBezTo>
                    <a:cubicBezTo>
                      <a:pt x="66" y="296"/>
                      <a:pt x="43" y="265"/>
                      <a:pt x="58" y="233"/>
                    </a:cubicBezTo>
                    <a:close/>
                    <a:moveTo>
                      <a:pt x="387" y="239"/>
                    </a:moveTo>
                    <a:cubicBezTo>
                      <a:pt x="387" y="366"/>
                      <a:pt x="387" y="366"/>
                      <a:pt x="387" y="366"/>
                    </a:cubicBezTo>
                    <a:cubicBezTo>
                      <a:pt x="387" y="372"/>
                      <a:pt x="391" y="376"/>
                      <a:pt x="397" y="376"/>
                    </a:cubicBezTo>
                    <a:cubicBezTo>
                      <a:pt x="406" y="376"/>
                      <a:pt x="415" y="378"/>
                      <a:pt x="423" y="382"/>
                    </a:cubicBezTo>
                    <a:cubicBezTo>
                      <a:pt x="424" y="383"/>
                      <a:pt x="426" y="383"/>
                      <a:pt x="428" y="383"/>
                    </a:cubicBezTo>
                    <a:cubicBezTo>
                      <a:pt x="431" y="383"/>
                      <a:pt x="435" y="381"/>
                      <a:pt x="437" y="378"/>
                    </a:cubicBezTo>
                    <a:cubicBezTo>
                      <a:pt x="439" y="373"/>
                      <a:pt x="437" y="367"/>
                      <a:pt x="432" y="364"/>
                    </a:cubicBezTo>
                    <a:cubicBezTo>
                      <a:pt x="424" y="360"/>
                      <a:pt x="416" y="357"/>
                      <a:pt x="407" y="356"/>
                    </a:cubicBezTo>
                    <a:cubicBezTo>
                      <a:pt x="407" y="239"/>
                      <a:pt x="407" y="239"/>
                      <a:pt x="407" y="239"/>
                    </a:cubicBezTo>
                    <a:cubicBezTo>
                      <a:pt x="469" y="234"/>
                      <a:pt x="517" y="183"/>
                      <a:pt x="517" y="120"/>
                    </a:cubicBezTo>
                    <a:cubicBezTo>
                      <a:pt x="517" y="53"/>
                      <a:pt x="463" y="0"/>
                      <a:pt x="397" y="0"/>
                    </a:cubicBezTo>
                    <a:cubicBezTo>
                      <a:pt x="331" y="0"/>
                      <a:pt x="277" y="53"/>
                      <a:pt x="277" y="120"/>
                    </a:cubicBezTo>
                    <a:cubicBezTo>
                      <a:pt x="277" y="183"/>
                      <a:pt x="325" y="234"/>
                      <a:pt x="387" y="239"/>
                    </a:cubicBezTo>
                    <a:close/>
                    <a:moveTo>
                      <a:pt x="335" y="77"/>
                    </a:moveTo>
                    <a:cubicBezTo>
                      <a:pt x="343" y="60"/>
                      <a:pt x="360" y="40"/>
                      <a:pt x="393" y="40"/>
                    </a:cubicBezTo>
                    <a:cubicBezTo>
                      <a:pt x="431" y="40"/>
                      <a:pt x="420" y="50"/>
                      <a:pt x="456" y="49"/>
                    </a:cubicBezTo>
                    <a:cubicBezTo>
                      <a:pt x="460" y="49"/>
                      <a:pt x="448" y="62"/>
                      <a:pt x="446" y="70"/>
                    </a:cubicBezTo>
                    <a:cubicBezTo>
                      <a:pt x="446" y="70"/>
                      <a:pt x="446" y="70"/>
                      <a:pt x="446" y="70"/>
                    </a:cubicBezTo>
                    <a:cubicBezTo>
                      <a:pt x="446" y="70"/>
                      <a:pt x="445" y="70"/>
                      <a:pt x="444" y="70"/>
                    </a:cubicBezTo>
                    <a:cubicBezTo>
                      <a:pt x="444" y="74"/>
                      <a:pt x="445" y="83"/>
                      <a:pt x="446" y="86"/>
                    </a:cubicBezTo>
                    <a:cubicBezTo>
                      <a:pt x="447" y="88"/>
                      <a:pt x="448" y="92"/>
                      <a:pt x="448" y="95"/>
                    </a:cubicBezTo>
                    <a:cubicBezTo>
                      <a:pt x="449" y="97"/>
                      <a:pt x="449" y="100"/>
                      <a:pt x="450" y="101"/>
                    </a:cubicBezTo>
                    <a:cubicBezTo>
                      <a:pt x="452" y="106"/>
                      <a:pt x="454" y="110"/>
                      <a:pt x="455" y="113"/>
                    </a:cubicBezTo>
                    <a:cubicBezTo>
                      <a:pt x="456" y="113"/>
                      <a:pt x="456" y="114"/>
                      <a:pt x="457" y="114"/>
                    </a:cubicBezTo>
                    <a:cubicBezTo>
                      <a:pt x="461" y="118"/>
                      <a:pt x="465" y="122"/>
                      <a:pt x="463" y="126"/>
                    </a:cubicBezTo>
                    <a:cubicBezTo>
                      <a:pt x="463" y="128"/>
                      <a:pt x="460" y="134"/>
                      <a:pt x="449" y="134"/>
                    </a:cubicBezTo>
                    <a:cubicBezTo>
                      <a:pt x="450" y="139"/>
                      <a:pt x="450" y="148"/>
                      <a:pt x="450" y="153"/>
                    </a:cubicBezTo>
                    <a:cubicBezTo>
                      <a:pt x="450" y="154"/>
                      <a:pt x="450" y="154"/>
                      <a:pt x="450" y="154"/>
                    </a:cubicBezTo>
                    <a:cubicBezTo>
                      <a:pt x="449" y="163"/>
                      <a:pt x="449" y="168"/>
                      <a:pt x="445" y="170"/>
                    </a:cubicBezTo>
                    <a:cubicBezTo>
                      <a:pt x="442" y="171"/>
                      <a:pt x="431" y="173"/>
                      <a:pt x="417" y="171"/>
                    </a:cubicBezTo>
                    <a:cubicBezTo>
                      <a:pt x="417" y="196"/>
                      <a:pt x="417" y="196"/>
                      <a:pt x="417" y="196"/>
                    </a:cubicBezTo>
                    <a:cubicBezTo>
                      <a:pt x="417" y="198"/>
                      <a:pt x="416" y="199"/>
                      <a:pt x="413" y="199"/>
                    </a:cubicBezTo>
                    <a:cubicBezTo>
                      <a:pt x="411" y="199"/>
                      <a:pt x="381" y="199"/>
                      <a:pt x="358" y="190"/>
                    </a:cubicBezTo>
                    <a:cubicBezTo>
                      <a:pt x="357" y="189"/>
                      <a:pt x="356" y="188"/>
                      <a:pt x="356" y="186"/>
                    </a:cubicBezTo>
                    <a:cubicBezTo>
                      <a:pt x="356" y="151"/>
                      <a:pt x="356" y="151"/>
                      <a:pt x="356" y="151"/>
                    </a:cubicBezTo>
                    <a:cubicBezTo>
                      <a:pt x="344" y="139"/>
                      <a:pt x="321" y="108"/>
                      <a:pt x="335" y="77"/>
                    </a:cubicBezTo>
                    <a:close/>
                    <a:moveTo>
                      <a:pt x="342" y="479"/>
                    </a:moveTo>
                    <a:cubicBezTo>
                      <a:pt x="346" y="476"/>
                      <a:pt x="348" y="471"/>
                      <a:pt x="346" y="466"/>
                    </a:cubicBezTo>
                    <a:cubicBezTo>
                      <a:pt x="346" y="465"/>
                      <a:pt x="346" y="465"/>
                      <a:pt x="346" y="464"/>
                    </a:cubicBezTo>
                    <a:cubicBezTo>
                      <a:pt x="340" y="455"/>
                      <a:pt x="338" y="445"/>
                      <a:pt x="338" y="435"/>
                    </a:cubicBezTo>
                    <a:cubicBezTo>
                      <a:pt x="338" y="430"/>
                      <a:pt x="333" y="425"/>
                      <a:pt x="328" y="425"/>
                    </a:cubicBezTo>
                    <a:cubicBezTo>
                      <a:pt x="322" y="425"/>
                      <a:pt x="318" y="430"/>
                      <a:pt x="318" y="435"/>
                    </a:cubicBezTo>
                    <a:cubicBezTo>
                      <a:pt x="318" y="446"/>
                      <a:pt x="320" y="456"/>
                      <a:pt x="324" y="466"/>
                    </a:cubicBezTo>
                    <a:cubicBezTo>
                      <a:pt x="218" y="526"/>
                      <a:pt x="218" y="526"/>
                      <a:pt x="218" y="526"/>
                    </a:cubicBezTo>
                    <a:cubicBezTo>
                      <a:pt x="196" y="495"/>
                      <a:pt x="161" y="475"/>
                      <a:pt x="119" y="475"/>
                    </a:cubicBezTo>
                    <a:cubicBezTo>
                      <a:pt x="53" y="475"/>
                      <a:pt x="0" y="528"/>
                      <a:pt x="0" y="594"/>
                    </a:cubicBezTo>
                    <a:cubicBezTo>
                      <a:pt x="0" y="661"/>
                      <a:pt x="53" y="714"/>
                      <a:pt x="119" y="714"/>
                    </a:cubicBezTo>
                    <a:cubicBezTo>
                      <a:pt x="186" y="714"/>
                      <a:pt x="239" y="661"/>
                      <a:pt x="239" y="594"/>
                    </a:cubicBezTo>
                    <a:cubicBezTo>
                      <a:pt x="239" y="576"/>
                      <a:pt x="236" y="559"/>
                      <a:pt x="228" y="544"/>
                    </a:cubicBezTo>
                    <a:cubicBezTo>
                      <a:pt x="342" y="479"/>
                      <a:pt x="342" y="479"/>
                      <a:pt x="342" y="479"/>
                    </a:cubicBezTo>
                    <a:close/>
                    <a:moveTo>
                      <a:pt x="188" y="602"/>
                    </a:moveTo>
                    <a:cubicBezTo>
                      <a:pt x="187" y="605"/>
                      <a:pt x="182" y="609"/>
                      <a:pt x="174" y="609"/>
                    </a:cubicBezTo>
                    <a:cubicBezTo>
                      <a:pt x="174" y="619"/>
                      <a:pt x="174" y="619"/>
                      <a:pt x="174" y="619"/>
                    </a:cubicBezTo>
                    <a:cubicBezTo>
                      <a:pt x="174" y="634"/>
                      <a:pt x="172" y="638"/>
                      <a:pt x="170" y="640"/>
                    </a:cubicBezTo>
                    <a:cubicBezTo>
                      <a:pt x="168" y="641"/>
                      <a:pt x="165" y="644"/>
                      <a:pt x="151" y="643"/>
                    </a:cubicBezTo>
                    <a:cubicBezTo>
                      <a:pt x="149" y="643"/>
                      <a:pt x="144" y="643"/>
                      <a:pt x="140" y="643"/>
                    </a:cubicBezTo>
                    <a:cubicBezTo>
                      <a:pt x="140" y="669"/>
                      <a:pt x="140" y="669"/>
                      <a:pt x="140" y="669"/>
                    </a:cubicBezTo>
                    <a:cubicBezTo>
                      <a:pt x="140" y="671"/>
                      <a:pt x="139" y="672"/>
                      <a:pt x="137" y="672"/>
                    </a:cubicBezTo>
                    <a:cubicBezTo>
                      <a:pt x="137" y="672"/>
                      <a:pt x="136" y="673"/>
                      <a:pt x="134" y="673"/>
                    </a:cubicBezTo>
                    <a:cubicBezTo>
                      <a:pt x="126" y="673"/>
                      <a:pt x="109" y="671"/>
                      <a:pt x="95" y="663"/>
                    </a:cubicBezTo>
                    <a:cubicBezTo>
                      <a:pt x="94" y="663"/>
                      <a:pt x="93" y="662"/>
                      <a:pt x="93" y="660"/>
                    </a:cubicBezTo>
                    <a:cubicBezTo>
                      <a:pt x="92" y="643"/>
                      <a:pt x="92" y="643"/>
                      <a:pt x="92" y="643"/>
                    </a:cubicBezTo>
                    <a:cubicBezTo>
                      <a:pt x="70" y="634"/>
                      <a:pt x="34" y="607"/>
                      <a:pt x="61" y="551"/>
                    </a:cubicBezTo>
                    <a:cubicBezTo>
                      <a:pt x="69" y="534"/>
                      <a:pt x="88" y="517"/>
                      <a:pt x="121" y="517"/>
                    </a:cubicBezTo>
                    <a:cubicBezTo>
                      <a:pt x="158" y="517"/>
                      <a:pt x="174" y="534"/>
                      <a:pt x="172" y="541"/>
                    </a:cubicBezTo>
                    <a:cubicBezTo>
                      <a:pt x="171" y="543"/>
                      <a:pt x="170" y="544"/>
                      <a:pt x="169" y="545"/>
                    </a:cubicBezTo>
                    <a:cubicBezTo>
                      <a:pt x="171" y="548"/>
                      <a:pt x="175" y="554"/>
                      <a:pt x="174" y="563"/>
                    </a:cubicBezTo>
                    <a:cubicBezTo>
                      <a:pt x="174" y="568"/>
                      <a:pt x="174" y="577"/>
                      <a:pt x="175" y="578"/>
                    </a:cubicBezTo>
                    <a:cubicBezTo>
                      <a:pt x="177" y="581"/>
                      <a:pt x="179" y="586"/>
                      <a:pt x="182" y="589"/>
                    </a:cubicBezTo>
                    <a:cubicBezTo>
                      <a:pt x="185" y="592"/>
                      <a:pt x="189" y="598"/>
                      <a:pt x="188" y="602"/>
                    </a:cubicBezTo>
                    <a:close/>
                    <a:moveTo>
                      <a:pt x="675" y="475"/>
                    </a:moveTo>
                    <a:cubicBezTo>
                      <a:pt x="633" y="475"/>
                      <a:pt x="598" y="495"/>
                      <a:pt x="576" y="526"/>
                    </a:cubicBezTo>
                    <a:cubicBezTo>
                      <a:pt x="462" y="461"/>
                      <a:pt x="462" y="461"/>
                      <a:pt x="462" y="461"/>
                    </a:cubicBezTo>
                    <a:cubicBezTo>
                      <a:pt x="457" y="458"/>
                      <a:pt x="451" y="460"/>
                      <a:pt x="448" y="464"/>
                    </a:cubicBezTo>
                    <a:cubicBezTo>
                      <a:pt x="448" y="465"/>
                      <a:pt x="448" y="465"/>
                      <a:pt x="448" y="465"/>
                    </a:cubicBezTo>
                    <a:cubicBezTo>
                      <a:pt x="443" y="473"/>
                      <a:pt x="436" y="480"/>
                      <a:pt x="429" y="485"/>
                    </a:cubicBezTo>
                    <a:cubicBezTo>
                      <a:pt x="423" y="488"/>
                      <a:pt x="422" y="494"/>
                      <a:pt x="425" y="499"/>
                    </a:cubicBezTo>
                    <a:cubicBezTo>
                      <a:pt x="428" y="504"/>
                      <a:pt x="435" y="506"/>
                      <a:pt x="439" y="502"/>
                    </a:cubicBezTo>
                    <a:cubicBezTo>
                      <a:pt x="447" y="497"/>
                      <a:pt x="454" y="491"/>
                      <a:pt x="460" y="483"/>
                    </a:cubicBezTo>
                    <a:cubicBezTo>
                      <a:pt x="566" y="544"/>
                      <a:pt x="566" y="544"/>
                      <a:pt x="566" y="544"/>
                    </a:cubicBezTo>
                    <a:cubicBezTo>
                      <a:pt x="558" y="559"/>
                      <a:pt x="555" y="576"/>
                      <a:pt x="555" y="594"/>
                    </a:cubicBezTo>
                    <a:cubicBezTo>
                      <a:pt x="555" y="661"/>
                      <a:pt x="608" y="714"/>
                      <a:pt x="675" y="714"/>
                    </a:cubicBezTo>
                    <a:cubicBezTo>
                      <a:pt x="741" y="714"/>
                      <a:pt x="794" y="661"/>
                      <a:pt x="794" y="594"/>
                    </a:cubicBezTo>
                    <a:cubicBezTo>
                      <a:pt x="794" y="528"/>
                      <a:pt x="741" y="475"/>
                      <a:pt x="675" y="475"/>
                    </a:cubicBezTo>
                    <a:close/>
                    <a:moveTo>
                      <a:pt x="716" y="626"/>
                    </a:moveTo>
                    <a:cubicBezTo>
                      <a:pt x="716" y="661"/>
                      <a:pt x="716" y="661"/>
                      <a:pt x="716" y="661"/>
                    </a:cubicBezTo>
                    <a:cubicBezTo>
                      <a:pt x="716" y="663"/>
                      <a:pt x="715" y="664"/>
                      <a:pt x="714" y="664"/>
                    </a:cubicBezTo>
                    <a:cubicBezTo>
                      <a:pt x="690" y="674"/>
                      <a:pt x="660" y="674"/>
                      <a:pt x="658" y="674"/>
                    </a:cubicBezTo>
                    <a:cubicBezTo>
                      <a:pt x="656" y="674"/>
                      <a:pt x="655" y="673"/>
                      <a:pt x="655" y="671"/>
                    </a:cubicBezTo>
                    <a:cubicBezTo>
                      <a:pt x="655" y="646"/>
                      <a:pt x="655" y="646"/>
                      <a:pt x="655" y="646"/>
                    </a:cubicBezTo>
                    <a:cubicBezTo>
                      <a:pt x="640" y="648"/>
                      <a:pt x="629" y="646"/>
                      <a:pt x="626" y="645"/>
                    </a:cubicBezTo>
                    <a:cubicBezTo>
                      <a:pt x="622" y="643"/>
                      <a:pt x="622" y="638"/>
                      <a:pt x="621" y="629"/>
                    </a:cubicBezTo>
                    <a:cubicBezTo>
                      <a:pt x="621" y="628"/>
                      <a:pt x="621" y="628"/>
                      <a:pt x="621" y="628"/>
                    </a:cubicBezTo>
                    <a:cubicBezTo>
                      <a:pt x="621" y="623"/>
                      <a:pt x="622" y="614"/>
                      <a:pt x="622" y="609"/>
                    </a:cubicBezTo>
                    <a:cubicBezTo>
                      <a:pt x="612" y="609"/>
                      <a:pt x="609" y="603"/>
                      <a:pt x="608" y="601"/>
                    </a:cubicBezTo>
                    <a:cubicBezTo>
                      <a:pt x="607" y="597"/>
                      <a:pt x="611" y="593"/>
                      <a:pt x="615" y="589"/>
                    </a:cubicBezTo>
                    <a:cubicBezTo>
                      <a:pt x="615" y="588"/>
                      <a:pt x="615" y="588"/>
                      <a:pt x="616" y="588"/>
                    </a:cubicBezTo>
                    <a:cubicBezTo>
                      <a:pt x="618" y="585"/>
                      <a:pt x="620" y="581"/>
                      <a:pt x="622" y="576"/>
                    </a:cubicBezTo>
                    <a:cubicBezTo>
                      <a:pt x="622" y="575"/>
                      <a:pt x="623" y="572"/>
                      <a:pt x="623" y="570"/>
                    </a:cubicBezTo>
                    <a:cubicBezTo>
                      <a:pt x="624" y="567"/>
                      <a:pt x="625" y="563"/>
                      <a:pt x="626" y="561"/>
                    </a:cubicBezTo>
                    <a:cubicBezTo>
                      <a:pt x="626" y="558"/>
                      <a:pt x="627" y="549"/>
                      <a:pt x="627" y="544"/>
                    </a:cubicBezTo>
                    <a:cubicBezTo>
                      <a:pt x="627" y="544"/>
                      <a:pt x="626" y="545"/>
                      <a:pt x="626" y="545"/>
                    </a:cubicBezTo>
                    <a:cubicBezTo>
                      <a:pt x="626" y="545"/>
                      <a:pt x="626" y="545"/>
                      <a:pt x="625" y="544"/>
                    </a:cubicBezTo>
                    <a:cubicBezTo>
                      <a:pt x="623" y="537"/>
                      <a:pt x="612" y="524"/>
                      <a:pt x="616" y="524"/>
                    </a:cubicBezTo>
                    <a:cubicBezTo>
                      <a:pt x="651" y="525"/>
                      <a:pt x="640" y="515"/>
                      <a:pt x="678" y="515"/>
                    </a:cubicBezTo>
                    <a:cubicBezTo>
                      <a:pt x="712" y="515"/>
                      <a:pt x="728" y="535"/>
                      <a:pt x="736" y="552"/>
                    </a:cubicBezTo>
                    <a:cubicBezTo>
                      <a:pt x="751" y="583"/>
                      <a:pt x="728" y="614"/>
                      <a:pt x="716" y="6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Figtree" pitchFamily="2" charset="0"/>
                </a:endParaRPr>
              </a:p>
            </p:txBody>
          </p:sp>
        </p:grpSp>
      </p:grpSp>
      <p:sp>
        <p:nvSpPr>
          <p:cNvPr id="16" name="Rectangle: Rounded Corners 15">
            <a:extLst>
              <a:ext uri="{FF2B5EF4-FFF2-40B4-BE49-F238E27FC236}">
                <a16:creationId xmlns:a16="http://schemas.microsoft.com/office/drawing/2014/main" id="{B594E360-86BB-BC48-8097-BE3E4EE325A9}"/>
              </a:ext>
            </a:extLst>
          </p:cNvPr>
          <p:cNvSpPr/>
          <p:nvPr/>
        </p:nvSpPr>
        <p:spPr>
          <a:xfrm>
            <a:off x="4125386" y="2400436"/>
            <a:ext cx="3648478" cy="1951558"/>
          </a:xfrm>
          <a:prstGeom prst="round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300" b="1" u="none" strike="noStrike" kern="1200" cap="none" spc="0" normalizeH="0" baseline="0" noProof="0" dirty="0">
                <a:ln>
                  <a:noFill/>
                </a:ln>
                <a:solidFill>
                  <a:schemeClr val="accent3"/>
                </a:solidFill>
                <a:effectLst/>
                <a:uLnTx/>
                <a:uFillTx/>
                <a:latin typeface="Figtree" pitchFamily="2" charset="0"/>
                <a:cs typeface="Arial"/>
              </a:rPr>
              <a:t>Manufacturing Investing</a:t>
            </a:r>
            <a:endParaRPr lang="en-US" sz="2300" b="1" u="none" strike="noStrike" kern="1200" cap="none" spc="0" normalizeH="0" baseline="0" noProof="0" dirty="0">
              <a:ln>
                <a:noFill/>
              </a:ln>
              <a:solidFill>
                <a:schemeClr val="accent3"/>
              </a:solidFill>
              <a:effectLst/>
              <a:uLnTx/>
              <a:uFillTx/>
              <a:latin typeface="Figtree" pitchFamily="2" charset="0"/>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trengthening and securing the </a:t>
            </a:r>
            <a:b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energy </a:t>
            </a: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upply chains America needs for a secure, clean and </a:t>
            </a:r>
            <a:b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b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quitable </a:t>
            </a:r>
            <a:r>
              <a:rPr lang="en-US" sz="1600" dirty="0">
                <a:solidFill>
                  <a:schemeClr val="bg1"/>
                </a:solidFill>
                <a:latin typeface="Arial" panose="020B0604020202020204" pitchFamily="34" charset="0"/>
                <a:cs typeface="Arial" panose="020B0604020202020204" pitchFamily="34" charset="0"/>
              </a:rPr>
              <a:t>energy system</a:t>
            </a:r>
            <a:endParaRPr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Rounded Corners 17">
            <a:extLst>
              <a:ext uri="{FF2B5EF4-FFF2-40B4-BE49-F238E27FC236}">
                <a16:creationId xmlns:a16="http://schemas.microsoft.com/office/drawing/2014/main" id="{C509F7E1-E22C-AB2B-5BE9-9D0D5DFBADEB}"/>
              </a:ext>
            </a:extLst>
          </p:cNvPr>
          <p:cNvSpPr/>
          <p:nvPr/>
        </p:nvSpPr>
        <p:spPr>
          <a:xfrm>
            <a:off x="7908312" y="2400437"/>
            <a:ext cx="3642004" cy="1951557"/>
          </a:xfrm>
          <a:prstGeom prst="round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400" b="1" u="none" strike="noStrike" kern="1200" cap="none" spc="0" normalizeH="0" baseline="0" noProof="0" dirty="0">
                <a:ln>
                  <a:noFill/>
                </a:ln>
                <a:solidFill>
                  <a:schemeClr val="accent3"/>
                </a:solidFill>
                <a:effectLst/>
                <a:uLnTx/>
                <a:uFillTx/>
                <a:latin typeface="Avenir Black" panose="02000503020000020003" pitchFamily="2" charset="0"/>
                <a:cs typeface="Arial"/>
              </a:rPr>
              <a:t>Workforce </a:t>
            </a:r>
            <a:br>
              <a:rPr kumimoji="0" lang="en-US" sz="2400" b="1" u="none" strike="noStrike" kern="1200" cap="none" spc="0" normalizeH="0" baseline="0" noProof="0" dirty="0">
                <a:ln>
                  <a:noFill/>
                </a:ln>
                <a:solidFill>
                  <a:schemeClr val="accent3"/>
                </a:solidFill>
                <a:effectLst/>
                <a:uLnTx/>
                <a:uFillTx/>
                <a:latin typeface="Avenir Black" panose="02000503020000020003" pitchFamily="2" charset="0"/>
                <a:cs typeface="Arial"/>
              </a:rPr>
            </a:br>
            <a:r>
              <a:rPr kumimoji="0" lang="en-US" sz="2400" b="1" u="none" strike="noStrike" kern="1200" cap="none" spc="0" normalizeH="0" baseline="0" noProof="0" dirty="0">
                <a:ln>
                  <a:noFill/>
                </a:ln>
                <a:solidFill>
                  <a:schemeClr val="accent3"/>
                </a:solidFill>
                <a:effectLst/>
                <a:uLnTx/>
                <a:uFillTx/>
                <a:latin typeface="Avenir Black" panose="02000503020000020003" pitchFamily="2" charset="0"/>
                <a:cs typeface="Arial"/>
              </a:rPr>
              <a:t>Investing</a:t>
            </a:r>
            <a:endParaRPr lang="en-US" sz="2400" b="1" u="none" strike="noStrike" kern="1200" cap="none" spc="0" normalizeH="0" baseline="0" noProof="0" dirty="0">
              <a:ln>
                <a:noFill/>
              </a:ln>
              <a:solidFill>
                <a:schemeClr val="accent3"/>
              </a:solidFill>
              <a:effectLst/>
              <a:uLnTx/>
              <a:uFillTx/>
              <a:latin typeface="Avenir Black" panose="02000503020000020003" pitchFamily="2" charset="0"/>
              <a:cs typeface="Arial"/>
            </a:endParaRPr>
          </a:p>
          <a:p>
            <a:pPr algn="ctr">
              <a:defRPr/>
            </a:pP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Supporting workforce </a:t>
            </a:r>
            <a:r>
              <a:rPr lang="en-US" sz="1600" dirty="0">
                <a:solidFill>
                  <a:schemeClr val="bg1"/>
                </a:solidFill>
                <a:latin typeface="Arial" panose="020B0604020202020204" pitchFamily="34" charset="0"/>
                <a:cs typeface="Arial" panose="020B0604020202020204" pitchFamily="34" charset="0"/>
              </a:rPr>
              <a:t>skills development </a:t>
            </a: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by directly funding</a:t>
            </a:r>
            <a:r>
              <a:rPr lang="en-US" sz="1600" dirty="0">
                <a:solidFill>
                  <a:schemeClr val="bg1"/>
                </a:solidFill>
                <a:latin typeface="Arial" panose="020B0604020202020204" pitchFamily="34" charset="0"/>
                <a:cs typeface="Arial" panose="020B0604020202020204" pitchFamily="34" charset="0"/>
              </a:rPr>
              <a:t> </a:t>
            </a:r>
            <a:br>
              <a:rPr lang="en-US" sz="1600" dirty="0">
                <a:solidFill>
                  <a:schemeClr val="bg1"/>
                </a:solidFill>
                <a:latin typeface="Arial" panose="020B0604020202020204" pitchFamily="34" charset="0"/>
                <a:cs typeface="Arial" panose="020B0604020202020204" pitchFamily="34" charset="0"/>
              </a:rPr>
            </a:b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utting-edge</a:t>
            </a:r>
            <a:r>
              <a:rPr lang="en-US" sz="1600" dirty="0">
                <a:solidFill>
                  <a:schemeClr val="bg1"/>
                </a:solidFill>
                <a:latin typeface="Arial" panose="020B0604020202020204" pitchFamily="34" charset="0"/>
                <a:cs typeface="Arial" panose="020B0604020202020204" pitchFamily="34" charset="0"/>
              </a:rPr>
              <a:t> </a:t>
            </a: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nergy manufacturing</a:t>
            </a:r>
            <a:r>
              <a:rPr lang="en-US" sz="1600" dirty="0">
                <a:solidFill>
                  <a:schemeClr val="bg1"/>
                </a:solidFill>
                <a:latin typeface="Arial" panose="020B0604020202020204" pitchFamily="34" charset="0"/>
                <a:cs typeface="Arial" panose="020B0604020202020204" pitchFamily="34" charset="0"/>
              </a:rPr>
              <a:t> training</a:t>
            </a: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programs</a:t>
            </a:r>
            <a:endParaRPr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BC353AF3-37CE-1596-5AD8-10A79BF0EF28}"/>
              </a:ext>
            </a:extLst>
          </p:cNvPr>
          <p:cNvSpPr/>
          <p:nvPr/>
        </p:nvSpPr>
        <p:spPr>
          <a:xfrm>
            <a:off x="4125387" y="4477280"/>
            <a:ext cx="7424929" cy="1242975"/>
          </a:xfrm>
          <a:prstGeom prst="round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300" b="1" u="none" strike="noStrike" kern="1200" cap="none" spc="0" normalizeH="0" baseline="0" noProof="0" dirty="0">
                <a:ln>
                  <a:noFill/>
                </a:ln>
                <a:solidFill>
                  <a:schemeClr val="accent3"/>
                </a:solidFill>
                <a:effectLst/>
                <a:uLnTx/>
                <a:uFillTx/>
                <a:latin typeface="Figtree" pitchFamily="2" charset="0"/>
                <a:cs typeface="Arial"/>
              </a:rPr>
              <a:t>Manufacturing Analytics Backbone</a:t>
            </a:r>
            <a:endParaRPr lang="en-US" sz="2300" b="1" u="none" strike="noStrike" kern="1200" cap="none" spc="0" normalizeH="0" baseline="0" noProof="0" dirty="0">
              <a:ln>
                <a:noFill/>
              </a:ln>
              <a:solidFill>
                <a:schemeClr val="accent3"/>
              </a:solidFill>
              <a:effectLst/>
              <a:uLnTx/>
              <a:uFillTx/>
              <a:latin typeface="Figtree" pitchFamily="2" charset="0"/>
              <a:cs typeface="Arial"/>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Robust modeling to guide and support DOE strategy and investments, private sector collaborative investments, and federal policy recommendations</a:t>
            </a:r>
            <a:endParaRPr kumimoji="0" lang="en-US" b="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E9E27F3-E7F5-63DD-4C98-16D12A0437AB}"/>
              </a:ext>
            </a:extLst>
          </p:cNvPr>
          <p:cNvSpPr/>
          <p:nvPr/>
        </p:nvSpPr>
        <p:spPr>
          <a:xfrm>
            <a:off x="3339287" y="1847960"/>
            <a:ext cx="8971021" cy="461665"/>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vert="horz" wrap="square" lIns="0" tIns="0" rIns="0" bIns="0" anchor="t">
            <a:spAutoFit/>
          </a:bodyPr>
          <a:lstStyle/>
          <a:p>
            <a:pPr marL="0" lvl="3" algn="ctr"/>
            <a:r>
              <a:rPr lang="en-US" sz="3000" b="1" dirty="0">
                <a:solidFill>
                  <a:schemeClr val="tx2"/>
                </a:solidFill>
                <a:latin typeface="Figtree" pitchFamily="2" charset="0"/>
              </a:rPr>
              <a:t>MESC’s Core Functions</a:t>
            </a:r>
          </a:p>
        </p:txBody>
      </p:sp>
    </p:spTree>
    <p:extLst>
      <p:ext uri="{BB962C8B-B14F-4D97-AF65-F5344CB8AC3E}">
        <p14:creationId xmlns:p14="http://schemas.microsoft.com/office/powerpoint/2010/main" val="1298233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a:extLst>
              <a:ext uri="{FF2B5EF4-FFF2-40B4-BE49-F238E27FC236}">
                <a16:creationId xmlns:a16="http://schemas.microsoft.com/office/drawing/2014/main" id="{07F1CC0B-F6EB-B58E-2DF4-6D8C989A479F}"/>
              </a:ext>
            </a:extLst>
          </p:cNvPr>
          <p:cNvGraphicFramePr>
            <a:graphicFrameLocks noChangeAspect="1"/>
          </p:cNvGraphicFramePr>
          <p:nvPr>
            <p:custDataLst>
              <p:tags r:id="rId1"/>
            </p:custDataLst>
            <p:extLst>
              <p:ext uri="{D42A27DB-BD31-4B8C-83A1-F6EECF244321}">
                <p14:modId xmlns:p14="http://schemas.microsoft.com/office/powerpoint/2010/main" val="3076413190"/>
              </p:ext>
            </p:extLst>
          </p:nvPr>
        </p:nvGraphicFramePr>
        <p:xfrm>
          <a:off x="121284" y="-407486"/>
          <a:ext cx="1588" cy="1588"/>
        </p:xfrm>
        <a:graphic>
          <a:graphicData uri="http://schemas.openxmlformats.org/presentationml/2006/ole">
            <mc:AlternateContent xmlns:mc="http://schemas.openxmlformats.org/markup-compatibility/2006">
              <mc:Choice xmlns:v="urn:schemas-microsoft-com:vml" Requires="v">
                <p:oleObj name="think-cell Slide" r:id="rId4" imgW="608" imgH="609" progId="TCLayout.ActiveDocument.1">
                  <p:embed/>
                </p:oleObj>
              </mc:Choice>
              <mc:Fallback>
                <p:oleObj name="think-cell Slide" r:id="rId4" imgW="608" imgH="609" progId="TCLayout.ActiveDocument.1">
                  <p:embed/>
                  <p:pic>
                    <p:nvPicPr>
                      <p:cNvPr id="11" name="think-cell data - do not delete">
                        <a:extLst>
                          <a:ext uri="{FF2B5EF4-FFF2-40B4-BE49-F238E27FC236}">
                            <a16:creationId xmlns:a16="http://schemas.microsoft.com/office/drawing/2014/main" id="{07F1CC0B-F6EB-B58E-2DF4-6D8C989A479F}"/>
                          </a:ext>
                        </a:extLst>
                      </p:cNvPr>
                      <p:cNvPicPr/>
                      <p:nvPr/>
                    </p:nvPicPr>
                    <p:blipFill>
                      <a:blip r:embed="rId5"/>
                      <a:stretch>
                        <a:fillRect/>
                      </a:stretch>
                    </p:blipFill>
                    <p:spPr>
                      <a:xfrm>
                        <a:off x="121284" y="-407486"/>
                        <a:ext cx="1588" cy="1588"/>
                      </a:xfrm>
                      <a:prstGeom prst="rect">
                        <a:avLst/>
                      </a:prstGeom>
                    </p:spPr>
                  </p:pic>
                </p:oleObj>
              </mc:Fallback>
            </mc:AlternateContent>
          </a:graphicData>
        </a:graphic>
      </p:graphicFrame>
      <p:sp>
        <p:nvSpPr>
          <p:cNvPr id="24" name="Text Placeholder 3">
            <a:extLst>
              <a:ext uri="{FF2B5EF4-FFF2-40B4-BE49-F238E27FC236}">
                <a16:creationId xmlns:a16="http://schemas.microsoft.com/office/drawing/2014/main" id="{4F8522C2-AE7A-AB93-84EB-DF639815E9B6}"/>
              </a:ext>
            </a:extLst>
          </p:cNvPr>
          <p:cNvSpPr>
            <a:spLocks noGrp="1"/>
          </p:cNvSpPr>
          <p:nvPr>
            <p:custDataLst>
              <p:tags r:id="rId2"/>
            </p:custDataLst>
          </p:nvPr>
        </p:nvSpPr>
        <p:spPr bwMode="gray">
          <a:xfrm>
            <a:off x="6909579" y="5825143"/>
            <a:ext cx="2707120" cy="13912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Calibri" panose="020F050202020403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1" indent="0" algn="ctr" defTabSz="914400" rtl="0" eaLnBrk="1" fontAlgn="auto" latinLnBrk="0" hangingPunct="1">
              <a:lnSpc>
                <a:spcPct val="90000"/>
              </a:lnSpc>
              <a:spcBef>
                <a:spcPct val="0"/>
              </a:spcBef>
              <a:spcAft>
                <a:spcPct val="0"/>
              </a:spcAft>
              <a:buClr>
                <a:srgbClr val="5FCBEF"/>
              </a:buClr>
              <a:buSzTx/>
              <a:buFont typeface="Arial" panose="020B0604020202020204" pitchFamily="34" charset="0"/>
              <a:buNone/>
              <a:tabLst/>
              <a:defRPr/>
            </a:pPr>
            <a:r>
              <a:rPr kumimoji="0" lang="en-US" altLang="en-US" sz="1300" b="1" i="0" u="none" strike="noStrike" kern="1200" cap="none" spc="0" normalizeH="0" baseline="0" noProof="0" dirty="0">
                <a:ln>
                  <a:noFill/>
                </a:ln>
                <a:solidFill>
                  <a:srgbClr val="404040"/>
                </a:solidFill>
                <a:effectLst/>
                <a:uLnTx/>
                <a:uFillTx/>
                <a:latin typeface="Avenir Book" panose="02000503020000020003" pitchFamily="2" charset="0"/>
                <a:cs typeface="Calibri"/>
                <a:sym typeface="Trebuchet MS" panose="020B0603020202020204" pitchFamily="34" charset="0"/>
              </a:rPr>
              <a:t>Commercialization</a:t>
            </a:r>
            <a:r>
              <a:rPr kumimoji="0" lang="en-US" altLang="en-US" sz="1300" b="1" i="0" u="none" strike="noStrike" kern="1200" cap="none" spc="0" normalizeH="0" baseline="0" noProof="0" dirty="0">
                <a:ln>
                  <a:noFill/>
                </a:ln>
                <a:solidFill>
                  <a:srgbClr val="404040"/>
                </a:solidFill>
                <a:effectLst/>
                <a:uLnTx/>
                <a:uFillTx/>
                <a:latin typeface="Calibri"/>
                <a:cs typeface="Calibri"/>
                <a:sym typeface="Trebuchet MS" panose="020B0603020202020204" pitchFamily="34" charset="0"/>
              </a:rPr>
              <a:t> </a:t>
            </a:r>
          </a:p>
        </p:txBody>
      </p:sp>
      <p:sp>
        <p:nvSpPr>
          <p:cNvPr id="45" name="TextBox 44">
            <a:extLst>
              <a:ext uri="{FF2B5EF4-FFF2-40B4-BE49-F238E27FC236}">
                <a16:creationId xmlns:a16="http://schemas.microsoft.com/office/drawing/2014/main" id="{02C3AD94-A47F-67A7-32FC-22BF38D1B433}"/>
              </a:ext>
            </a:extLst>
          </p:cNvPr>
          <p:cNvSpPr txBox="1"/>
          <p:nvPr/>
        </p:nvSpPr>
        <p:spPr>
          <a:xfrm>
            <a:off x="773188" y="1624902"/>
            <a:ext cx="4654097" cy="5078313"/>
          </a:xfrm>
          <a:prstGeom prst="rect">
            <a:avLst/>
          </a:prstGeom>
          <a:noFill/>
        </p:spPr>
        <p:txBody>
          <a:bodyPr wrap="square" lIns="91440" tIns="45720" rIns="91440" bIns="45720" rtlCol="0" anchor="t">
            <a:spAutoFit/>
          </a:bodyPr>
          <a:lstStyle/>
          <a:p>
            <a:r>
              <a:rPr lang="en-US" dirty="0">
                <a:latin typeface="Calibri" panose="020F0502020204030204" pitchFamily="34" charset="0"/>
                <a:cs typeface="Calibri" panose="020F0502020204030204" pitchFamily="34" charset="0"/>
              </a:rPr>
              <a:t>The Office of Manufacturing and Energy Supply Chains is working alongside private capital to be a force multiplier to secure American supply chains domestically.</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All DOE and MESC investments follow a data-driven approach, building on modeling, mapping, and analysis foundational from MESC experts.</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MESC is supporting workforce through direct funding of cutting-edge energy manufacturing programs at universities, community college, and trade-schools to provide entry-level and mid-career support. </a:t>
            </a: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8CA2DDD2-CE04-BAD3-5CA4-AC4D226DA6F9}"/>
              </a:ext>
            </a:extLst>
          </p:cNvPr>
          <p:cNvSpPr/>
          <p:nvPr/>
        </p:nvSpPr>
        <p:spPr>
          <a:xfrm>
            <a:off x="10244137" y="2139834"/>
            <a:ext cx="1698171" cy="1522681"/>
          </a:xfrm>
          <a:prstGeom prst="rect">
            <a:avLst/>
          </a:prstGeom>
          <a:solidFill>
            <a:srgbClr val="FFFFFF">
              <a:alpha val="43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FCBE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 name="Freeform: Shape 4">
            <a:extLst>
              <a:ext uri="{FF2B5EF4-FFF2-40B4-BE49-F238E27FC236}">
                <a16:creationId xmlns:a16="http://schemas.microsoft.com/office/drawing/2014/main" id="{C29F4E24-F371-62BE-8AA3-50B8A9E3AAC4}"/>
              </a:ext>
            </a:extLst>
          </p:cNvPr>
          <p:cNvSpPr/>
          <p:nvPr/>
        </p:nvSpPr>
        <p:spPr bwMode="gray">
          <a:xfrm>
            <a:off x="8880475" y="2001722"/>
            <a:ext cx="1244600" cy="1209675"/>
          </a:xfrm>
          <a:custGeom>
            <a:avLst/>
            <a:gdLst/>
            <a:ahLst/>
            <a:cxnLst/>
            <a:rect l="0" t="0" r="0" b="0"/>
            <a:pathLst>
              <a:path w="1244601" h="1209676">
                <a:moveTo>
                  <a:pt x="1244600" y="1209675"/>
                </a:moveTo>
                <a:lnTo>
                  <a:pt x="0" y="1209675"/>
                </a:lnTo>
                <a:lnTo>
                  <a:pt x="0" y="0"/>
                </a:lnTo>
                <a:lnTo>
                  <a:pt x="1244600" y="0"/>
                </a:lnTo>
                <a:close/>
              </a:path>
            </a:pathLst>
          </a:custGeom>
          <a:solidFill>
            <a:srgbClr val="A8A9AD"/>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 name="Freeform: Shape 5">
            <a:extLst>
              <a:ext uri="{FF2B5EF4-FFF2-40B4-BE49-F238E27FC236}">
                <a16:creationId xmlns:a16="http://schemas.microsoft.com/office/drawing/2014/main" id="{9E28743F-5718-C61E-DACB-1FF4E4DA50C0}"/>
              </a:ext>
            </a:extLst>
          </p:cNvPr>
          <p:cNvSpPr/>
          <p:nvPr/>
        </p:nvSpPr>
        <p:spPr bwMode="gray">
          <a:xfrm>
            <a:off x="7637462" y="2001722"/>
            <a:ext cx="1243013" cy="1209675"/>
          </a:xfrm>
          <a:custGeom>
            <a:avLst/>
            <a:gdLst/>
            <a:ahLst/>
            <a:cxnLst/>
            <a:rect l="0" t="0" r="0" b="0"/>
            <a:pathLst>
              <a:path w="1243013" h="1209676">
                <a:moveTo>
                  <a:pt x="1243012" y="1209675"/>
                </a:moveTo>
                <a:lnTo>
                  <a:pt x="0" y="1209675"/>
                </a:lnTo>
                <a:lnTo>
                  <a:pt x="0" y="0"/>
                </a:lnTo>
                <a:lnTo>
                  <a:pt x="1243012" y="0"/>
                </a:lnTo>
                <a:close/>
              </a:path>
            </a:pathLst>
          </a:custGeom>
          <a:solidFill>
            <a:srgbClr val="BCBDC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 name="Freeform: Shape 6">
            <a:extLst>
              <a:ext uri="{FF2B5EF4-FFF2-40B4-BE49-F238E27FC236}">
                <a16:creationId xmlns:a16="http://schemas.microsoft.com/office/drawing/2014/main" id="{F61339B2-0037-A8C4-E152-F9E4B1CEB9CE}"/>
              </a:ext>
            </a:extLst>
          </p:cNvPr>
          <p:cNvSpPr/>
          <p:nvPr/>
        </p:nvSpPr>
        <p:spPr bwMode="gray">
          <a:xfrm>
            <a:off x="7637462" y="3211397"/>
            <a:ext cx="1243013" cy="1216025"/>
          </a:xfrm>
          <a:custGeom>
            <a:avLst/>
            <a:gdLst/>
            <a:ahLst/>
            <a:cxnLst/>
            <a:rect l="0" t="0" r="0" b="0"/>
            <a:pathLst>
              <a:path w="1243013" h="1216026">
                <a:moveTo>
                  <a:pt x="1243012" y="1216025"/>
                </a:moveTo>
                <a:lnTo>
                  <a:pt x="0" y="1214437"/>
                </a:lnTo>
                <a:lnTo>
                  <a:pt x="0" y="0"/>
                </a:lnTo>
                <a:lnTo>
                  <a:pt x="1243012" y="0"/>
                </a:lnTo>
                <a:close/>
              </a:path>
            </a:pathLst>
          </a:custGeom>
          <a:solidFill>
            <a:srgbClr val="BCBDC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13" name="Freeform: Shape 12">
            <a:extLst>
              <a:ext uri="{FF2B5EF4-FFF2-40B4-BE49-F238E27FC236}">
                <a16:creationId xmlns:a16="http://schemas.microsoft.com/office/drawing/2014/main" id="{C3768794-4B04-770B-4484-18265B9DC60A}"/>
              </a:ext>
            </a:extLst>
          </p:cNvPr>
          <p:cNvSpPr/>
          <p:nvPr/>
        </p:nvSpPr>
        <p:spPr bwMode="gray">
          <a:xfrm>
            <a:off x="8880475" y="3211397"/>
            <a:ext cx="1244600" cy="1219200"/>
          </a:xfrm>
          <a:custGeom>
            <a:avLst/>
            <a:gdLst/>
            <a:ahLst/>
            <a:cxnLst/>
            <a:rect l="0" t="0" r="0" b="0"/>
            <a:pathLst>
              <a:path w="1244601" h="1219201">
                <a:moveTo>
                  <a:pt x="1244600" y="1219200"/>
                </a:moveTo>
                <a:lnTo>
                  <a:pt x="0" y="1216025"/>
                </a:lnTo>
                <a:lnTo>
                  <a:pt x="0" y="0"/>
                </a:lnTo>
                <a:lnTo>
                  <a:pt x="1244600" y="0"/>
                </a:lnTo>
                <a:close/>
              </a:path>
            </a:pathLst>
          </a:custGeom>
          <a:solidFill>
            <a:srgbClr val="BCBDC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7" name="Freeform: Shape 46">
            <a:extLst>
              <a:ext uri="{FF2B5EF4-FFF2-40B4-BE49-F238E27FC236}">
                <a16:creationId xmlns:a16="http://schemas.microsoft.com/office/drawing/2014/main" id="{343C612C-5BDC-0E0E-9D77-83B3B6E038F7}"/>
              </a:ext>
            </a:extLst>
          </p:cNvPr>
          <p:cNvSpPr/>
          <p:nvPr/>
        </p:nvSpPr>
        <p:spPr bwMode="gray">
          <a:xfrm>
            <a:off x="6392862" y="2001722"/>
            <a:ext cx="1244600" cy="1209675"/>
          </a:xfrm>
          <a:custGeom>
            <a:avLst/>
            <a:gdLst/>
            <a:ahLst/>
            <a:cxnLst/>
            <a:rect l="0" t="0" r="0" b="0"/>
            <a:pathLst>
              <a:path w="1244601" h="1209676">
                <a:moveTo>
                  <a:pt x="1244600" y="1209675"/>
                </a:moveTo>
                <a:lnTo>
                  <a:pt x="0" y="1209675"/>
                </a:lnTo>
                <a:lnTo>
                  <a:pt x="0" y="0"/>
                </a:lnTo>
                <a:lnTo>
                  <a:pt x="1244600" y="0"/>
                </a:lnTo>
                <a:close/>
              </a:path>
            </a:pathLst>
          </a:custGeom>
          <a:solidFill>
            <a:srgbClr val="D8D9DB"/>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8" name="Freeform: Shape 47">
            <a:extLst>
              <a:ext uri="{FF2B5EF4-FFF2-40B4-BE49-F238E27FC236}">
                <a16:creationId xmlns:a16="http://schemas.microsoft.com/office/drawing/2014/main" id="{2D6908C7-EC6A-BE2F-FD18-D3F0C69FBDE9}"/>
              </a:ext>
            </a:extLst>
          </p:cNvPr>
          <p:cNvSpPr/>
          <p:nvPr/>
        </p:nvSpPr>
        <p:spPr bwMode="gray">
          <a:xfrm>
            <a:off x="6392862" y="3211397"/>
            <a:ext cx="1244600" cy="1214438"/>
          </a:xfrm>
          <a:custGeom>
            <a:avLst/>
            <a:gdLst/>
            <a:ahLst/>
            <a:cxnLst/>
            <a:rect l="0" t="0" r="0" b="0"/>
            <a:pathLst>
              <a:path w="1244601" h="1214438">
                <a:moveTo>
                  <a:pt x="1244600" y="1214437"/>
                </a:moveTo>
                <a:lnTo>
                  <a:pt x="0" y="1211262"/>
                </a:lnTo>
                <a:lnTo>
                  <a:pt x="0" y="0"/>
                </a:lnTo>
                <a:lnTo>
                  <a:pt x="1244600" y="0"/>
                </a:lnTo>
                <a:close/>
              </a:path>
            </a:pathLst>
          </a:custGeom>
          <a:solidFill>
            <a:srgbClr val="D8D9DB"/>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9" name="Freeform: Shape 48">
            <a:extLst>
              <a:ext uri="{FF2B5EF4-FFF2-40B4-BE49-F238E27FC236}">
                <a16:creationId xmlns:a16="http://schemas.microsoft.com/office/drawing/2014/main" id="{D2EA4740-EE39-BAB9-0ACD-B564F9E8871A}"/>
              </a:ext>
            </a:extLst>
          </p:cNvPr>
          <p:cNvSpPr/>
          <p:nvPr/>
        </p:nvSpPr>
        <p:spPr bwMode="gray">
          <a:xfrm>
            <a:off x="6392862" y="4422659"/>
            <a:ext cx="1244600" cy="1209675"/>
          </a:xfrm>
          <a:custGeom>
            <a:avLst/>
            <a:gdLst/>
            <a:ahLst/>
            <a:cxnLst/>
            <a:rect l="0" t="0" r="0" b="0"/>
            <a:pathLst>
              <a:path w="1244601" h="1209676">
                <a:moveTo>
                  <a:pt x="1244600" y="1209675"/>
                </a:moveTo>
                <a:lnTo>
                  <a:pt x="0" y="1209675"/>
                </a:lnTo>
                <a:lnTo>
                  <a:pt x="0" y="0"/>
                </a:lnTo>
                <a:lnTo>
                  <a:pt x="1244600" y="3175"/>
                </a:lnTo>
                <a:close/>
              </a:path>
            </a:pathLst>
          </a:custGeom>
          <a:solidFill>
            <a:srgbClr val="F3F3F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454DC81E-6BD0-47D3-33FD-3A424652B30B}"/>
              </a:ext>
            </a:extLst>
          </p:cNvPr>
          <p:cNvSpPr/>
          <p:nvPr/>
        </p:nvSpPr>
        <p:spPr bwMode="gray">
          <a:xfrm>
            <a:off x="7637462" y="4425834"/>
            <a:ext cx="1243013" cy="1206500"/>
          </a:xfrm>
          <a:custGeom>
            <a:avLst/>
            <a:gdLst/>
            <a:ahLst/>
            <a:cxnLst/>
            <a:rect l="0" t="0" r="0" b="0"/>
            <a:pathLst>
              <a:path w="1243013" h="1206501">
                <a:moveTo>
                  <a:pt x="1243012" y="1206500"/>
                </a:moveTo>
                <a:lnTo>
                  <a:pt x="0" y="1206500"/>
                </a:lnTo>
                <a:lnTo>
                  <a:pt x="0" y="0"/>
                </a:lnTo>
                <a:lnTo>
                  <a:pt x="1243012" y="1588"/>
                </a:lnTo>
                <a:close/>
              </a:path>
            </a:pathLst>
          </a:custGeom>
          <a:solidFill>
            <a:srgbClr val="F3F3F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51" name="Freeform: Shape 50">
            <a:extLst>
              <a:ext uri="{FF2B5EF4-FFF2-40B4-BE49-F238E27FC236}">
                <a16:creationId xmlns:a16="http://schemas.microsoft.com/office/drawing/2014/main" id="{5E583746-390C-15D0-1032-C04527501E6D}"/>
              </a:ext>
            </a:extLst>
          </p:cNvPr>
          <p:cNvSpPr/>
          <p:nvPr/>
        </p:nvSpPr>
        <p:spPr bwMode="gray">
          <a:xfrm>
            <a:off x="8880475" y="4427422"/>
            <a:ext cx="1244600" cy="1204913"/>
          </a:xfrm>
          <a:custGeom>
            <a:avLst/>
            <a:gdLst/>
            <a:ahLst/>
            <a:cxnLst/>
            <a:rect l="0" t="0" r="0" b="0"/>
            <a:pathLst>
              <a:path w="1244601" h="1204913">
                <a:moveTo>
                  <a:pt x="1244600" y="1204912"/>
                </a:moveTo>
                <a:lnTo>
                  <a:pt x="0" y="1204912"/>
                </a:lnTo>
                <a:lnTo>
                  <a:pt x="0" y="0"/>
                </a:lnTo>
                <a:lnTo>
                  <a:pt x="1244600" y="3175"/>
                </a:lnTo>
                <a:close/>
              </a:path>
            </a:pathLst>
          </a:custGeom>
          <a:solidFill>
            <a:srgbClr val="F3F3F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cxnSp>
        <p:nvCxnSpPr>
          <p:cNvPr id="52" name="Straight Connector 51">
            <a:extLst>
              <a:ext uri="{FF2B5EF4-FFF2-40B4-BE49-F238E27FC236}">
                <a16:creationId xmlns:a16="http://schemas.microsoft.com/office/drawing/2014/main" id="{AADF94B0-D386-8AC8-6433-2E4E916EA33A}"/>
              </a:ext>
            </a:extLst>
          </p:cNvPr>
          <p:cNvCxnSpPr/>
          <p:nvPr/>
        </p:nvCxnSpPr>
        <p:spPr bwMode="gray">
          <a:xfrm>
            <a:off x="6392862" y="4422659"/>
            <a:ext cx="3732213" cy="7938"/>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A64B5F66-CA42-6789-55F6-22F60CF622B6}"/>
              </a:ext>
            </a:extLst>
          </p:cNvPr>
          <p:cNvCxnSpPr>
            <a:cxnSpLocks/>
          </p:cNvCxnSpPr>
          <p:nvPr/>
        </p:nvCxnSpPr>
        <p:spPr bwMode="gray">
          <a:xfrm flipV="1">
            <a:off x="7637462" y="2001721"/>
            <a:ext cx="0" cy="3630613"/>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F6DFF10D-34DD-BF40-7770-185F276288B9}"/>
              </a:ext>
            </a:extLst>
          </p:cNvPr>
          <p:cNvCxnSpPr>
            <a:cxnSpLocks/>
          </p:cNvCxnSpPr>
          <p:nvPr/>
        </p:nvCxnSpPr>
        <p:spPr bwMode="gray">
          <a:xfrm>
            <a:off x="6392862" y="3211397"/>
            <a:ext cx="3732213" cy="0"/>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074BA5E2-800A-2A24-ABBC-DC402CA18580}"/>
              </a:ext>
            </a:extLst>
          </p:cNvPr>
          <p:cNvCxnSpPr>
            <a:cxnSpLocks/>
          </p:cNvCxnSpPr>
          <p:nvPr/>
        </p:nvCxnSpPr>
        <p:spPr bwMode="gray">
          <a:xfrm flipV="1">
            <a:off x="8880475" y="2001722"/>
            <a:ext cx="0" cy="3630613"/>
          </a:xfrm>
          <a:prstGeom prst="line">
            <a:avLst/>
          </a:prstGeom>
          <a:ln w="9525" cap="flat" cmpd="sng" algn="ctr">
            <a:solidFill>
              <a:srgbClr val="9A9A9A"/>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Box 24">
            <a:extLst>
              <a:ext uri="{FF2B5EF4-FFF2-40B4-BE49-F238E27FC236}">
                <a16:creationId xmlns:a16="http://schemas.microsoft.com/office/drawing/2014/main" id="{15206A8B-10E0-1DA0-8D76-10FC4A9D39C6}"/>
              </a:ext>
            </a:extLst>
          </p:cNvPr>
          <p:cNvSpPr txBox="1"/>
          <p:nvPr/>
        </p:nvSpPr>
        <p:spPr>
          <a:xfrm>
            <a:off x="9008124" y="2439872"/>
            <a:ext cx="1041691" cy="3317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Calibri"/>
                <a:ea typeface="+mn-ea"/>
                <a:cs typeface="+mn-cs"/>
              </a:rPr>
              <a:t>LP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404040"/>
                </a:solidFill>
                <a:effectLst/>
                <a:uLnTx/>
                <a:uFillTx/>
                <a:latin typeface="Calibri"/>
                <a:ea typeface="+mn-ea"/>
                <a:cs typeface="+mn-cs"/>
              </a:rPr>
              <a:t>i.e., debt financing</a:t>
            </a:r>
          </a:p>
        </p:txBody>
      </p:sp>
      <p:sp>
        <p:nvSpPr>
          <p:cNvPr id="57" name="TextBox 25">
            <a:extLst>
              <a:ext uri="{FF2B5EF4-FFF2-40B4-BE49-F238E27FC236}">
                <a16:creationId xmlns:a16="http://schemas.microsoft.com/office/drawing/2014/main" id="{3B3AE68C-FA8B-6EAC-0053-6C015825D89B}"/>
              </a:ext>
            </a:extLst>
          </p:cNvPr>
          <p:cNvSpPr txBox="1"/>
          <p:nvPr/>
        </p:nvSpPr>
        <p:spPr>
          <a:xfrm>
            <a:off x="6493193" y="4919547"/>
            <a:ext cx="1040765" cy="333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b="1">
                <a:solidFill>
                  <a:srgbClr val="404040"/>
                </a:solidFill>
                <a:latin typeface="Calibri"/>
              </a:rPr>
              <a:t>ARPA-E</a:t>
            </a:r>
            <a:endParaRPr lang="en-US" sz="1600" b="1" i="0" u="none" strike="noStrike" kern="1200" cap="none" spc="0" normalizeH="0" baseline="0" noProof="0">
              <a:ln>
                <a:noFill/>
              </a:ln>
              <a:solidFill>
                <a:srgbClr val="404040"/>
              </a:solidFill>
              <a:effectLst/>
              <a:uLnTx/>
              <a:uFillTx/>
              <a:latin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srgbClr val="404040"/>
                </a:solidFill>
                <a:effectLst/>
                <a:uLnTx/>
                <a:uFillTx/>
                <a:latin typeface="Calibri"/>
                <a:ea typeface="+mn-ea"/>
                <a:cs typeface="+mn-cs"/>
              </a:rPr>
              <a:t>i.e., angel investors</a:t>
            </a:r>
            <a:endParaRPr lang="en-US" sz="1400" b="0" i="1" u="none" strike="noStrike" kern="1200" cap="none" spc="0" normalizeH="0" baseline="0" noProof="0">
              <a:ln>
                <a:noFill/>
              </a:ln>
              <a:solidFill>
                <a:srgbClr val="404040"/>
              </a:solidFill>
              <a:effectLst/>
              <a:uLnTx/>
              <a:uFillTx/>
              <a:latin typeface="Calibri"/>
              <a:cs typeface="Calibri"/>
            </a:endParaRPr>
          </a:p>
        </p:txBody>
      </p:sp>
      <p:sp>
        <p:nvSpPr>
          <p:cNvPr id="58" name="TextBox 26">
            <a:extLst>
              <a:ext uri="{FF2B5EF4-FFF2-40B4-BE49-F238E27FC236}">
                <a16:creationId xmlns:a16="http://schemas.microsoft.com/office/drawing/2014/main" id="{F95CC119-0C26-EEFB-12FD-8E938E68F08A}"/>
              </a:ext>
            </a:extLst>
          </p:cNvPr>
          <p:cNvSpPr txBox="1"/>
          <p:nvPr/>
        </p:nvSpPr>
        <p:spPr>
          <a:xfrm>
            <a:off x="7858356" y="4373110"/>
            <a:ext cx="1040765" cy="333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Calibri"/>
                <a:ea typeface="+mn-ea"/>
                <a:cs typeface="+mn-cs"/>
              </a:rPr>
              <a:t>OCED</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1" u="none" strike="noStrike" kern="1200" cap="none" spc="0" normalizeH="0" baseline="0" noProof="0">
                <a:ln>
                  <a:noFill/>
                </a:ln>
                <a:solidFill>
                  <a:srgbClr val="404040"/>
                </a:solidFill>
                <a:effectLst/>
                <a:uLnTx/>
                <a:uFillTx/>
                <a:latin typeface="Calibri"/>
                <a:ea typeface="+mn-ea"/>
                <a:cs typeface="+mn-cs"/>
              </a:rPr>
              <a:t>i.e., early stage equity</a:t>
            </a:r>
            <a:endParaRPr kumimoji="0" lang="en-US" sz="1050" b="0" i="1" u="none" strike="noStrike" kern="1200" cap="none" spc="0" normalizeH="0" baseline="0" noProof="0">
              <a:ln>
                <a:noFill/>
              </a:ln>
              <a:solidFill>
                <a:srgbClr val="404040"/>
              </a:solidFill>
              <a:effectLst/>
              <a:uLnTx/>
              <a:uFillTx/>
              <a:latin typeface="Calibri"/>
              <a:ea typeface="+mn-ea"/>
              <a:cs typeface="Calibri"/>
            </a:endParaRPr>
          </a:p>
        </p:txBody>
      </p:sp>
      <p:grpSp>
        <p:nvGrpSpPr>
          <p:cNvPr id="59" name="Group 58">
            <a:extLst>
              <a:ext uri="{FF2B5EF4-FFF2-40B4-BE49-F238E27FC236}">
                <a16:creationId xmlns:a16="http://schemas.microsoft.com/office/drawing/2014/main" id="{3881359B-9C32-5381-2595-4BFC6BF3C6FD}"/>
              </a:ext>
            </a:extLst>
          </p:cNvPr>
          <p:cNvGrpSpPr/>
          <p:nvPr/>
        </p:nvGrpSpPr>
        <p:grpSpPr>
          <a:xfrm>
            <a:off x="6540501" y="-1363779"/>
            <a:ext cx="6902450" cy="6996113"/>
            <a:chOff x="5821365" y="-954705"/>
            <a:chExt cx="6903200" cy="6996345"/>
          </a:xfrm>
        </p:grpSpPr>
        <p:sp>
          <p:nvSpPr>
            <p:cNvPr id="75" name="Partial Circle 74">
              <a:extLst>
                <a:ext uri="{FF2B5EF4-FFF2-40B4-BE49-F238E27FC236}">
                  <a16:creationId xmlns:a16="http://schemas.microsoft.com/office/drawing/2014/main" id="{25F2A28E-B105-FAEA-64DD-3A7B8A73D1F3}"/>
                </a:ext>
              </a:extLst>
            </p:cNvPr>
            <p:cNvSpPr>
              <a:spLocks noChangeAspect="1"/>
            </p:cNvSpPr>
            <p:nvPr/>
          </p:nvSpPr>
          <p:spPr>
            <a:xfrm rot="5400000">
              <a:off x="7064455" y="-954705"/>
              <a:ext cx="5660110" cy="5660110"/>
            </a:xfrm>
            <a:prstGeom prst="pie">
              <a:avLst>
                <a:gd name="adj1" fmla="val 0"/>
                <a:gd name="adj2" fmla="val 5400000"/>
              </a:avLst>
            </a:prstGeom>
            <a:noFill/>
            <a:ln w="955675" cap="rnd" cmpd="sng" algn="ctr">
              <a:solidFill>
                <a:srgbClr val="5FCBEF">
                  <a:alpha val="41000"/>
                </a:srgbClr>
              </a:solidFill>
              <a:prstDash val="solid"/>
              <a:round/>
              <a:headEnd type="none" w="med" len="med"/>
              <a:tailEnd type="none" w="med" len="med"/>
            </a:ln>
            <a:extLst>
              <a:ext uri="{909E8E84-426E-40DD-AFC4-6F175D3DCCD1}">
                <a14:hiddenFill xmlns:a14="http://schemas.microsoft.com/office/drawing/2010/main">
                  <a:solidFill>
                    <a:srgbClr val="5FCBEF">
                      <a:alpha val="10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6" name="Rectangle 75">
              <a:extLst>
                <a:ext uri="{FF2B5EF4-FFF2-40B4-BE49-F238E27FC236}">
                  <a16:creationId xmlns:a16="http://schemas.microsoft.com/office/drawing/2014/main" id="{5F31EC99-483B-B4EE-F4E3-5EF5F742CE0D}"/>
                </a:ext>
              </a:extLst>
            </p:cNvPr>
            <p:cNvSpPr/>
            <p:nvPr/>
          </p:nvSpPr>
          <p:spPr>
            <a:xfrm>
              <a:off x="9404426" y="2177878"/>
              <a:ext cx="979713" cy="3863762"/>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FCBE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7" name="Rectangle 76">
              <a:extLst>
                <a:ext uri="{FF2B5EF4-FFF2-40B4-BE49-F238E27FC236}">
                  <a16:creationId xmlns:a16="http://schemas.microsoft.com/office/drawing/2014/main" id="{E0543C8D-5550-6714-3D87-93336FBA1B38}"/>
                </a:ext>
              </a:extLst>
            </p:cNvPr>
            <p:cNvSpPr/>
            <p:nvPr/>
          </p:nvSpPr>
          <p:spPr>
            <a:xfrm>
              <a:off x="5821365" y="1284655"/>
              <a:ext cx="4504227" cy="112553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5FCBE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grpSp>
      <p:sp>
        <p:nvSpPr>
          <p:cNvPr id="60" name="TextBox 31">
            <a:extLst>
              <a:ext uri="{FF2B5EF4-FFF2-40B4-BE49-F238E27FC236}">
                <a16:creationId xmlns:a16="http://schemas.microsoft.com/office/drawing/2014/main" id="{B0C478E0-56E6-7A39-268B-9E8010559D79}"/>
              </a:ext>
            </a:extLst>
          </p:cNvPr>
          <p:cNvSpPr txBox="1"/>
          <p:nvPr/>
        </p:nvSpPr>
        <p:spPr>
          <a:xfrm>
            <a:off x="8102147" y="3337912"/>
            <a:ext cx="1040765" cy="333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05FAB"/>
                </a:solidFill>
                <a:effectLst/>
                <a:uLnTx/>
                <a:uFillTx/>
                <a:latin typeface="Calibri"/>
                <a:ea typeface="+mn-ea"/>
                <a:cs typeface="+mn-cs"/>
              </a:rPr>
              <a:t>MESC</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0" u="none" strike="noStrike" kern="1200" cap="none" spc="0" normalizeH="0" baseline="0" noProof="0">
                <a:ln>
                  <a:noFill/>
                </a:ln>
                <a:solidFill>
                  <a:srgbClr val="205FAB"/>
                </a:solidFill>
                <a:effectLst/>
                <a:uLnTx/>
                <a:uFillTx/>
                <a:latin typeface="Calibri"/>
                <a:ea typeface="+mn-ea"/>
                <a:cs typeface="+mn-cs"/>
              </a:rPr>
              <a:t>i.e., growth equity</a:t>
            </a:r>
            <a:endParaRPr kumimoji="0" lang="en-US" sz="2400" b="0" i="0" u="none" strike="noStrike" kern="1200" cap="none" spc="0" normalizeH="0" baseline="0" noProof="0">
              <a:ln>
                <a:noFill/>
              </a:ln>
              <a:solidFill>
                <a:srgbClr val="205FAB"/>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5C833532-057B-964B-C20E-145F11E12183}"/>
              </a:ext>
            </a:extLst>
          </p:cNvPr>
          <p:cNvSpPr/>
          <p:nvPr/>
        </p:nvSpPr>
        <p:spPr>
          <a:xfrm>
            <a:off x="10334825" y="2251430"/>
            <a:ext cx="378052" cy="225839"/>
          </a:xfrm>
          <a:prstGeom prst="rect">
            <a:avLst/>
          </a:prstGeom>
          <a:solidFill>
            <a:srgbClr val="F3F3F5"/>
          </a:solidFill>
          <a:ln w="9525" cap="rnd" cmpd="sng" algn="ctr">
            <a:solidFill>
              <a:srgbClr val="7F7F7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89DA3F2D-50CD-688C-113A-6820D5B0C2BD}"/>
              </a:ext>
            </a:extLst>
          </p:cNvPr>
          <p:cNvSpPr/>
          <p:nvPr/>
        </p:nvSpPr>
        <p:spPr>
          <a:xfrm>
            <a:off x="10334825" y="2601135"/>
            <a:ext cx="378052" cy="225839"/>
          </a:xfrm>
          <a:prstGeom prst="rect">
            <a:avLst/>
          </a:prstGeom>
          <a:solidFill>
            <a:srgbClr val="D8D9DB"/>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34BD1A5A-8B3B-41E9-42A1-8CF9FF5C4BF5}"/>
              </a:ext>
            </a:extLst>
          </p:cNvPr>
          <p:cNvSpPr/>
          <p:nvPr/>
        </p:nvSpPr>
        <p:spPr>
          <a:xfrm>
            <a:off x="10334824" y="2958803"/>
            <a:ext cx="378052" cy="225839"/>
          </a:xfrm>
          <a:prstGeom prst="rect">
            <a:avLst/>
          </a:prstGeom>
          <a:solidFill>
            <a:srgbClr val="BCBDC1"/>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D50DC03D-38E8-439B-EAFD-C5DEB9195318}"/>
              </a:ext>
            </a:extLst>
          </p:cNvPr>
          <p:cNvSpPr/>
          <p:nvPr/>
        </p:nvSpPr>
        <p:spPr>
          <a:xfrm>
            <a:off x="10334824" y="3308508"/>
            <a:ext cx="378052" cy="225839"/>
          </a:xfrm>
          <a:prstGeom prst="rect">
            <a:avLst/>
          </a:prstGeom>
          <a:solidFill>
            <a:srgbClr val="A8A9AD"/>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5" name="TextBox 36">
            <a:extLst>
              <a:ext uri="{FF2B5EF4-FFF2-40B4-BE49-F238E27FC236}">
                <a16:creationId xmlns:a16="http://schemas.microsoft.com/office/drawing/2014/main" id="{2CCE063F-DD5B-54BA-6AB2-9EBA55883468}"/>
              </a:ext>
            </a:extLst>
          </p:cNvPr>
          <p:cNvSpPr txBox="1"/>
          <p:nvPr/>
        </p:nvSpPr>
        <p:spPr>
          <a:xfrm>
            <a:off x="10731700" y="2260385"/>
            <a:ext cx="1034143" cy="229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venir Book" panose="02000503020000020003" pitchFamily="2" charset="0"/>
              </a:rPr>
              <a:t>Research and Development</a:t>
            </a:r>
          </a:p>
        </p:txBody>
      </p:sp>
      <p:sp>
        <p:nvSpPr>
          <p:cNvPr id="66" name="TextBox 37">
            <a:extLst>
              <a:ext uri="{FF2B5EF4-FFF2-40B4-BE49-F238E27FC236}">
                <a16:creationId xmlns:a16="http://schemas.microsoft.com/office/drawing/2014/main" id="{85433ED9-2CC8-2A49-FD41-46FAE7A25DAA}"/>
              </a:ext>
            </a:extLst>
          </p:cNvPr>
          <p:cNvSpPr txBox="1"/>
          <p:nvPr/>
        </p:nvSpPr>
        <p:spPr>
          <a:xfrm>
            <a:off x="10731700" y="2575302"/>
            <a:ext cx="1249362" cy="2775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venir Book" panose="02000503020000020003" pitchFamily="2" charset="0"/>
              </a:rPr>
              <a:t>Demonstration</a:t>
            </a:r>
          </a:p>
        </p:txBody>
      </p:sp>
      <p:sp>
        <p:nvSpPr>
          <p:cNvPr id="67" name="TextBox 38">
            <a:extLst>
              <a:ext uri="{FF2B5EF4-FFF2-40B4-BE49-F238E27FC236}">
                <a16:creationId xmlns:a16="http://schemas.microsoft.com/office/drawing/2014/main" id="{0475B032-BDA1-C59D-7B66-B1BEDF2E44B0}"/>
              </a:ext>
            </a:extLst>
          </p:cNvPr>
          <p:cNvSpPr txBox="1"/>
          <p:nvPr/>
        </p:nvSpPr>
        <p:spPr>
          <a:xfrm>
            <a:off x="10731700" y="2956872"/>
            <a:ext cx="1137557" cy="229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venir Book" panose="02000503020000020003" pitchFamily="2" charset="0"/>
              </a:rPr>
              <a:t>Deployment</a:t>
            </a:r>
          </a:p>
        </p:txBody>
      </p:sp>
      <p:sp>
        <p:nvSpPr>
          <p:cNvPr id="68" name="TextBox 39">
            <a:extLst>
              <a:ext uri="{FF2B5EF4-FFF2-40B4-BE49-F238E27FC236}">
                <a16:creationId xmlns:a16="http://schemas.microsoft.com/office/drawing/2014/main" id="{65D92E02-0732-FA9A-362F-E5E301253634}"/>
              </a:ext>
            </a:extLst>
          </p:cNvPr>
          <p:cNvSpPr txBox="1"/>
          <p:nvPr/>
        </p:nvSpPr>
        <p:spPr>
          <a:xfrm>
            <a:off x="10731700" y="3306577"/>
            <a:ext cx="1034143" cy="2297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404040"/>
                </a:solidFill>
                <a:effectLst/>
                <a:uLnTx/>
                <a:uFillTx/>
                <a:latin typeface="Avenir Book" panose="02000503020000020003" pitchFamily="2" charset="0"/>
              </a:rPr>
              <a:t>Adoption</a:t>
            </a:r>
          </a:p>
        </p:txBody>
      </p:sp>
      <p:sp>
        <p:nvSpPr>
          <p:cNvPr id="69" name="Rectangle 68">
            <a:extLst>
              <a:ext uri="{FF2B5EF4-FFF2-40B4-BE49-F238E27FC236}">
                <a16:creationId xmlns:a16="http://schemas.microsoft.com/office/drawing/2014/main" id="{A73502B9-3458-6790-E862-0B3FEA8E64C6}"/>
              </a:ext>
            </a:extLst>
          </p:cNvPr>
          <p:cNvSpPr/>
          <p:nvPr/>
        </p:nvSpPr>
        <p:spPr>
          <a:xfrm>
            <a:off x="10666950" y="1098352"/>
            <a:ext cx="517695" cy="731520"/>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0" name="Partial Circle 69">
            <a:extLst>
              <a:ext uri="{FF2B5EF4-FFF2-40B4-BE49-F238E27FC236}">
                <a16:creationId xmlns:a16="http://schemas.microsoft.com/office/drawing/2014/main" id="{75A61E3F-1320-AE63-FEC8-B00188C0C2B7}"/>
              </a:ext>
            </a:extLst>
          </p:cNvPr>
          <p:cNvSpPr>
            <a:spLocks noChangeAspect="1"/>
          </p:cNvSpPr>
          <p:nvPr/>
        </p:nvSpPr>
        <p:spPr>
          <a:xfrm rot="5400000">
            <a:off x="6589218" y="-1550990"/>
            <a:ext cx="7089680" cy="7089146"/>
          </a:xfrm>
          <a:prstGeom prst="pie">
            <a:avLst>
              <a:gd name="adj1" fmla="val 0"/>
              <a:gd name="adj2" fmla="val 5400000"/>
            </a:avLst>
          </a:prstGeom>
          <a:noFill/>
          <a:ln w="25400" cap="rnd" cmpd="sng" algn="ctr">
            <a:solidFill>
              <a:srgbClr val="5FCBEF">
                <a:alpha val="70000"/>
              </a:srgbClr>
            </a:solidFill>
            <a:prstDash val="solid"/>
            <a:round/>
            <a:headEnd type="none" w="med" len="med"/>
            <a:tailEnd type="none" w="med" len="med"/>
          </a:ln>
          <a:extLst>
            <a:ext uri="{909E8E84-426E-40DD-AFC4-6F175D3DCCD1}">
              <a14:hiddenFill xmlns:a14="http://schemas.microsoft.com/office/drawing/2010/main">
                <a:solidFill>
                  <a:srgbClr val="5FCBEF">
                    <a:alpha val="10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71" name="TextBox 42">
            <a:extLst>
              <a:ext uri="{FF2B5EF4-FFF2-40B4-BE49-F238E27FC236}">
                <a16:creationId xmlns:a16="http://schemas.microsoft.com/office/drawing/2014/main" id="{A88C8F50-02F4-B391-648A-8E95771DBC2F}"/>
              </a:ext>
            </a:extLst>
          </p:cNvPr>
          <p:cNvSpPr txBox="1"/>
          <p:nvPr/>
        </p:nvSpPr>
        <p:spPr>
          <a:xfrm rot="16200000">
            <a:off x="4729457" y="3830325"/>
            <a:ext cx="2801938" cy="2222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04040"/>
                </a:solidFill>
                <a:effectLst/>
                <a:uLnTx/>
                <a:uFillTx/>
                <a:latin typeface="Avenir Book" panose="02000503020000020003" pitchFamily="2" charset="0"/>
              </a:rPr>
              <a:t>Technology Readiness Level (TRL)</a:t>
            </a:r>
          </a:p>
        </p:txBody>
      </p:sp>
      <p:sp>
        <p:nvSpPr>
          <p:cNvPr id="72" name="TextBox 43">
            <a:extLst>
              <a:ext uri="{FF2B5EF4-FFF2-40B4-BE49-F238E27FC236}">
                <a16:creationId xmlns:a16="http://schemas.microsoft.com/office/drawing/2014/main" id="{125C7825-85E9-6C14-6755-96399840B46E}"/>
              </a:ext>
            </a:extLst>
          </p:cNvPr>
          <p:cNvSpPr txBox="1"/>
          <p:nvPr/>
        </p:nvSpPr>
        <p:spPr>
          <a:xfrm>
            <a:off x="6096000" y="1624902"/>
            <a:ext cx="4148137" cy="307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404040"/>
                </a:solidFill>
                <a:effectLst/>
                <a:uLnTx/>
                <a:uFillTx/>
                <a:latin typeface="Avenir Book" panose="02000503020000020003" pitchFamily="2" charset="0"/>
              </a:rPr>
              <a:t>Technology maturity and example DOE offices</a:t>
            </a:r>
          </a:p>
        </p:txBody>
      </p:sp>
      <p:sp>
        <p:nvSpPr>
          <p:cNvPr id="73" name="TextBox 45">
            <a:extLst>
              <a:ext uri="{FF2B5EF4-FFF2-40B4-BE49-F238E27FC236}">
                <a16:creationId xmlns:a16="http://schemas.microsoft.com/office/drawing/2014/main" id="{ADA850FF-EACA-7E8A-1F0C-B7AED1470F08}"/>
              </a:ext>
            </a:extLst>
          </p:cNvPr>
          <p:cNvSpPr txBox="1"/>
          <p:nvPr/>
        </p:nvSpPr>
        <p:spPr>
          <a:xfrm>
            <a:off x="7296400" y="3774763"/>
            <a:ext cx="1040765" cy="333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04040"/>
                </a:solidFill>
                <a:effectLst/>
                <a:uLnTx/>
                <a:uFillTx/>
                <a:latin typeface="Calibri"/>
                <a:ea typeface="+mn-ea"/>
                <a:cs typeface="+mn-cs"/>
              </a:rPr>
              <a:t>FECM</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050" b="0" i="1" u="none" strike="noStrike" kern="1200" cap="none" spc="0" normalizeH="0" baseline="0" noProof="0" err="1">
                <a:ln>
                  <a:noFill/>
                </a:ln>
                <a:solidFill>
                  <a:srgbClr val="404040"/>
                </a:solidFill>
                <a:effectLst/>
                <a:uLnTx/>
                <a:uFillTx/>
                <a:latin typeface="Calibri"/>
                <a:ea typeface="+mn-ea"/>
                <a:cs typeface="+mn-cs"/>
              </a:rPr>
              <a:t>i.E</a:t>
            </a:r>
            <a:r>
              <a:rPr kumimoji="0" lang="en-US" sz="1050" b="0" i="1" u="none" strike="noStrike" kern="1200" cap="none" spc="0" normalizeH="0" baseline="0" noProof="0">
                <a:ln>
                  <a:noFill/>
                </a:ln>
                <a:solidFill>
                  <a:srgbClr val="404040"/>
                </a:solidFill>
                <a:effectLst/>
                <a:uLnTx/>
                <a:uFillTx/>
                <a:latin typeface="Calibri"/>
                <a:ea typeface="+mn-ea"/>
                <a:cs typeface="+mn-cs"/>
              </a:rPr>
              <a:t> critical material demo</a:t>
            </a:r>
            <a:endParaRPr kumimoji="0" lang="en-US" sz="1050" b="0" i="1" u="none" strike="noStrike" kern="1200" cap="none" spc="0" normalizeH="0" baseline="0" noProof="0">
              <a:ln>
                <a:noFill/>
              </a:ln>
              <a:solidFill>
                <a:srgbClr val="404040"/>
              </a:solidFill>
              <a:effectLst/>
              <a:uLnTx/>
              <a:uFillTx/>
              <a:latin typeface="Calibri"/>
              <a:ea typeface="+mn-ea"/>
              <a:cs typeface="Calibri"/>
            </a:endParaRPr>
          </a:p>
        </p:txBody>
      </p:sp>
      <p:sp>
        <p:nvSpPr>
          <p:cNvPr id="74" name="TextBox 2">
            <a:extLst>
              <a:ext uri="{FF2B5EF4-FFF2-40B4-BE49-F238E27FC236}">
                <a16:creationId xmlns:a16="http://schemas.microsoft.com/office/drawing/2014/main" id="{C0D3016D-28D6-0375-BD1B-3359BC9AB570}"/>
              </a:ext>
            </a:extLst>
          </p:cNvPr>
          <p:cNvSpPr txBox="1"/>
          <p:nvPr/>
        </p:nvSpPr>
        <p:spPr>
          <a:xfrm>
            <a:off x="6252053" y="4138255"/>
            <a:ext cx="1040765" cy="333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600" b="1" dirty="0">
                <a:solidFill>
                  <a:srgbClr val="404040"/>
                </a:solidFill>
                <a:latin typeface="Calibri"/>
              </a:rPr>
              <a:t>EERE</a:t>
            </a:r>
            <a:endParaRPr lang="en-US" sz="1600" b="1" i="0" u="none" strike="noStrike" kern="1200" cap="none" spc="0" normalizeH="0" baseline="0" noProof="0" dirty="0">
              <a:ln>
                <a:noFill/>
              </a:ln>
              <a:solidFill>
                <a:srgbClr val="404040"/>
              </a:solidFill>
              <a:effectLst/>
              <a:uLnTx/>
              <a:uFillTx/>
              <a:latin typeface="Calibri"/>
              <a:cs typeface="Calibri"/>
            </a:endParaRPr>
          </a:p>
          <a:p>
            <a:pPr algn="ctr">
              <a:defRPr/>
            </a:pPr>
            <a:r>
              <a:rPr kumimoji="0" lang="en-US" sz="1050" b="0" i="1" u="none" strike="noStrike" kern="1200" cap="none" spc="0" normalizeH="0" baseline="0" noProof="0" dirty="0">
                <a:ln>
                  <a:noFill/>
                </a:ln>
                <a:solidFill>
                  <a:srgbClr val="404040"/>
                </a:solidFill>
                <a:effectLst/>
                <a:uLnTx/>
                <a:uFillTx/>
                <a:latin typeface="Calibri"/>
                <a:ea typeface="+mn-ea"/>
                <a:cs typeface="+mn-cs"/>
              </a:rPr>
              <a:t>i.e., </a:t>
            </a:r>
            <a:r>
              <a:rPr lang="en-US" sz="1050" i="1" dirty="0">
                <a:solidFill>
                  <a:srgbClr val="404040"/>
                </a:solidFill>
                <a:latin typeface="Calibri"/>
              </a:rPr>
              <a:t>seed capital</a:t>
            </a:r>
            <a:endParaRPr lang="en-US" sz="1400" b="0" i="1" u="none" strike="noStrike" kern="1200" cap="none" spc="0" normalizeH="0" baseline="0" noProof="0" dirty="0">
              <a:ln>
                <a:noFill/>
              </a:ln>
              <a:solidFill>
                <a:srgbClr val="404040"/>
              </a:solidFill>
              <a:effectLst/>
              <a:uLnTx/>
              <a:uFillTx/>
              <a:latin typeface="Calibri"/>
              <a:cs typeface="Calibri"/>
            </a:endParaRPr>
          </a:p>
        </p:txBody>
      </p:sp>
      <p:sp>
        <p:nvSpPr>
          <p:cNvPr id="2" name="Title 1">
            <a:extLst>
              <a:ext uri="{FF2B5EF4-FFF2-40B4-BE49-F238E27FC236}">
                <a16:creationId xmlns:a16="http://schemas.microsoft.com/office/drawing/2014/main" id="{45CD4D9F-A3B5-2BFA-262D-12B5F7BE9986}"/>
              </a:ext>
            </a:extLst>
          </p:cNvPr>
          <p:cNvSpPr>
            <a:spLocks noGrp="1"/>
          </p:cNvSpPr>
          <p:nvPr>
            <p:ph type="title"/>
          </p:nvPr>
        </p:nvSpPr>
        <p:spPr/>
        <p:txBody>
          <a:bodyPr vert="horz">
            <a:noAutofit/>
          </a:bodyPr>
          <a:lstStyle/>
          <a:p>
            <a:r>
              <a:rPr lang="en-US" sz="3000" dirty="0">
                <a:latin typeface="Figtree"/>
                <a:cs typeface="Forte Forward" panose="020F0502020204030204" pitchFamily="2" charset="0"/>
              </a:rPr>
              <a:t>MESC operates in late-stage technology development, driving large-scale deployment of new technologies</a:t>
            </a:r>
          </a:p>
        </p:txBody>
      </p:sp>
    </p:spTree>
    <p:extLst>
      <p:ext uri="{BB962C8B-B14F-4D97-AF65-F5344CB8AC3E}">
        <p14:creationId xmlns:p14="http://schemas.microsoft.com/office/powerpoint/2010/main" val="185800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phic 17" descr="Checkbox Checked with solid fill">
            <a:extLst>
              <a:ext uri="{FF2B5EF4-FFF2-40B4-BE49-F238E27FC236}">
                <a16:creationId xmlns:a16="http://schemas.microsoft.com/office/drawing/2014/main" id="{88FD9C09-3004-BA1C-E3A7-1DF3BFE603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96080" y="-1452864"/>
            <a:ext cx="7072491" cy="7072491"/>
          </a:xfrm>
          <a:prstGeom prst="rect">
            <a:avLst/>
          </a:prstGeom>
        </p:spPr>
      </p:pic>
      <p:graphicFrame>
        <p:nvGraphicFramePr>
          <p:cNvPr id="63" name="Object 6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63" name="Object 62"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Title 15"/>
          <p:cNvSpPr>
            <a:spLocks noGrp="1"/>
          </p:cNvSpPr>
          <p:nvPr>
            <p:ph type="title"/>
          </p:nvPr>
        </p:nvSpPr>
        <p:spPr/>
        <p:txBody>
          <a:bodyPr vert="horz" wrap="none" anchor="ctr">
            <a:normAutofit fontScale="90000"/>
          </a:bodyPr>
          <a:lstStyle/>
          <a:p>
            <a:r>
              <a:rPr lang="en-US" sz="4400" dirty="0"/>
              <a:t>2024 MESC Goals  </a:t>
            </a:r>
          </a:p>
        </p:txBody>
      </p:sp>
      <p:graphicFrame>
        <p:nvGraphicFramePr>
          <p:cNvPr id="4" name="think-cell data - do not delete" hidden="1">
            <a:extLst>
              <a:ext uri="{FF2B5EF4-FFF2-40B4-BE49-F238E27FC236}">
                <a16:creationId xmlns:a16="http://schemas.microsoft.com/office/drawing/2014/main" id="{C1194416-FE99-34B1-641F-C8D11541EDB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86" imgH="286" progId="TCLayout.ActiveDocument.1">
                  <p:embed/>
                </p:oleObj>
              </mc:Choice>
              <mc:Fallback>
                <p:oleObj name="think-cell Slide" r:id="rId10" imgW="286" imgH="286" progId="TCLayout.ActiveDocument.1">
                  <p:embed/>
                  <p:pic>
                    <p:nvPicPr>
                      <p:cNvPr id="4" name="think-cell data - do not delete" hidden="1">
                        <a:extLst>
                          <a:ext uri="{FF2B5EF4-FFF2-40B4-BE49-F238E27FC236}">
                            <a16:creationId xmlns:a16="http://schemas.microsoft.com/office/drawing/2014/main" id="{C1194416-FE99-34B1-641F-C8D11541ED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330C0FCB-3585-E6AB-761A-F947B65EBA8D}"/>
              </a:ext>
            </a:extLst>
          </p:cNvPr>
          <p:cNvSpPr txBox="1"/>
          <p:nvPr/>
        </p:nvSpPr>
        <p:spPr>
          <a:xfrm>
            <a:off x="7652510" y="2683682"/>
            <a:ext cx="3759633" cy="707886"/>
          </a:xfrm>
          <a:prstGeom prst="rect">
            <a:avLst/>
          </a:prstGeom>
          <a:noFill/>
        </p:spPr>
        <p:txBody>
          <a:bodyPr wrap="square">
            <a:spAutoFit/>
          </a:bodyPr>
          <a:lstStyle/>
          <a:p>
            <a:pPr marL="11113" lvl="1" algn="ctr"/>
            <a:r>
              <a:rPr lang="en-US" sz="2000" dirty="0">
                <a:solidFill>
                  <a:schemeClr val="tx2"/>
                </a:solidFill>
                <a:latin typeface="Figtree" pitchFamily="2" charset="0"/>
              </a:rPr>
              <a:t>Create average of </a:t>
            </a:r>
            <a:r>
              <a:rPr lang="en-US" sz="2000" b="1" dirty="0">
                <a:solidFill>
                  <a:schemeClr val="tx2"/>
                </a:solidFill>
                <a:latin typeface="Figtree" pitchFamily="2" charset="0"/>
              </a:rPr>
              <a:t>150+ jobs </a:t>
            </a:r>
            <a:r>
              <a:rPr lang="en-US" sz="2000" dirty="0">
                <a:solidFill>
                  <a:schemeClr val="tx2"/>
                </a:solidFill>
                <a:latin typeface="Figtree" pitchFamily="2" charset="0"/>
              </a:rPr>
              <a:t>per project </a:t>
            </a:r>
          </a:p>
        </p:txBody>
      </p:sp>
      <p:sp>
        <p:nvSpPr>
          <p:cNvPr id="10" name="TextBox 9">
            <a:extLst>
              <a:ext uri="{FF2B5EF4-FFF2-40B4-BE49-F238E27FC236}">
                <a16:creationId xmlns:a16="http://schemas.microsoft.com/office/drawing/2014/main" id="{FA6EFA9B-8562-7473-F77C-ACC132AEB80A}"/>
              </a:ext>
            </a:extLst>
          </p:cNvPr>
          <p:cNvSpPr txBox="1"/>
          <p:nvPr/>
        </p:nvSpPr>
        <p:spPr>
          <a:xfrm>
            <a:off x="5001789" y="291209"/>
            <a:ext cx="7341632" cy="444802"/>
          </a:xfrm>
          <a:prstGeom prst="rect">
            <a:avLst/>
          </a:prstGeom>
          <a:noFill/>
        </p:spPr>
        <p:txBody>
          <a:bodyPr wrap="square" rtlCol="0">
            <a:spAutoFit/>
          </a:bodyPr>
          <a:lstStyle/>
          <a:p>
            <a:pPr>
              <a:lnSpc>
                <a:spcPct val="120000"/>
              </a:lnSpc>
              <a:spcBef>
                <a:spcPts val="200"/>
              </a:spcBef>
              <a:spcAft>
                <a:spcPts val="800"/>
              </a:spcAft>
            </a:pPr>
            <a:r>
              <a:rPr lang="en-US" sz="2000" i="1" kern="1000" dirty="0">
                <a:solidFill>
                  <a:schemeClr val="tx2"/>
                </a:solidFill>
                <a:latin typeface="Figtree" pitchFamily="2" charset="0"/>
                <a:ea typeface="Yu Mincho" panose="02020400000000000000" pitchFamily="18" charset="-128"/>
                <a:cs typeface="Arial" panose="020B0604020202020204" pitchFamily="34" charset="0"/>
              </a:rPr>
              <a:t>Strengthen U.S Manufacturing Capacity and Workforce </a:t>
            </a:r>
          </a:p>
        </p:txBody>
      </p:sp>
      <p:pic>
        <p:nvPicPr>
          <p:cNvPr id="12" name="Picture 11">
            <a:extLst>
              <a:ext uri="{FF2B5EF4-FFF2-40B4-BE49-F238E27FC236}">
                <a16:creationId xmlns:a16="http://schemas.microsoft.com/office/drawing/2014/main" id="{5BD1AD86-E809-12BF-02DD-2145EBC2986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788271" y="2874649"/>
            <a:ext cx="1371600" cy="3530600"/>
          </a:xfrm>
          <a:prstGeom prst="rect">
            <a:avLst/>
          </a:prstGeom>
        </p:spPr>
      </p:pic>
      <p:sp>
        <p:nvSpPr>
          <p:cNvPr id="17" name="TextBox 16">
            <a:extLst>
              <a:ext uri="{FF2B5EF4-FFF2-40B4-BE49-F238E27FC236}">
                <a16:creationId xmlns:a16="http://schemas.microsoft.com/office/drawing/2014/main" id="{E52E46FC-1395-D4DC-DCB3-54FCDB56FA2D}"/>
              </a:ext>
            </a:extLst>
          </p:cNvPr>
          <p:cNvSpPr txBox="1"/>
          <p:nvPr/>
        </p:nvSpPr>
        <p:spPr>
          <a:xfrm>
            <a:off x="1719223" y="1936604"/>
            <a:ext cx="189277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tx2"/>
                </a:solidFill>
                <a:latin typeface="Arial" panose="020B0604020202020204" pitchFamily="34" charset="0"/>
                <a:cs typeface="Arial" panose="020B0604020202020204" pitchFamily="34" charset="0"/>
              </a:rPr>
              <a:t>PERMANENT JOBS</a:t>
            </a:r>
          </a:p>
        </p:txBody>
      </p:sp>
      <p:pic>
        <p:nvPicPr>
          <p:cNvPr id="21" name="Picture 20">
            <a:extLst>
              <a:ext uri="{FF2B5EF4-FFF2-40B4-BE49-F238E27FC236}">
                <a16:creationId xmlns:a16="http://schemas.microsoft.com/office/drawing/2014/main" id="{91FF0B25-625B-5040-EDE5-27AC284420F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20756" y="2607949"/>
            <a:ext cx="1371600" cy="3797300"/>
          </a:xfrm>
          <a:prstGeom prst="rect">
            <a:avLst/>
          </a:prstGeom>
        </p:spPr>
      </p:pic>
      <p:sp>
        <p:nvSpPr>
          <p:cNvPr id="22" name="TextBox 21">
            <a:extLst>
              <a:ext uri="{FF2B5EF4-FFF2-40B4-BE49-F238E27FC236}">
                <a16:creationId xmlns:a16="http://schemas.microsoft.com/office/drawing/2014/main" id="{5747586B-1BDE-6282-5A76-FF4194D7FC25}"/>
              </a:ext>
            </a:extLst>
          </p:cNvPr>
          <p:cNvSpPr txBox="1"/>
          <p:nvPr/>
        </p:nvSpPr>
        <p:spPr>
          <a:xfrm>
            <a:off x="605568" y="3693760"/>
            <a:ext cx="13716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2000" dirty="0">
                <a:solidFill>
                  <a:schemeClr val="tx2"/>
                </a:solidFill>
                <a:latin typeface="Figtree" pitchFamily="2" charset="0"/>
                <a:cs typeface="Arial"/>
              </a:rPr>
              <a:t>15,000</a:t>
            </a:r>
          </a:p>
          <a:p>
            <a:pPr algn="r"/>
            <a:r>
              <a:rPr lang="en-US" sz="2000" dirty="0">
                <a:solidFill>
                  <a:schemeClr val="tx2"/>
                </a:solidFill>
                <a:latin typeface="Figtree" pitchFamily="2" charset="0"/>
                <a:cs typeface="Arial"/>
              </a:rPr>
              <a:t>Enabled</a:t>
            </a:r>
          </a:p>
        </p:txBody>
      </p:sp>
      <p:sp>
        <p:nvSpPr>
          <p:cNvPr id="23" name="TextBox 22">
            <a:extLst>
              <a:ext uri="{FF2B5EF4-FFF2-40B4-BE49-F238E27FC236}">
                <a16:creationId xmlns:a16="http://schemas.microsoft.com/office/drawing/2014/main" id="{5FCF4EC2-554C-7E8B-529D-4288B21F5696}"/>
              </a:ext>
            </a:extLst>
          </p:cNvPr>
          <p:cNvSpPr txBox="1"/>
          <p:nvPr/>
        </p:nvSpPr>
        <p:spPr>
          <a:xfrm>
            <a:off x="5204316" y="2831469"/>
            <a:ext cx="13716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chemeClr val="tx2"/>
                </a:solidFill>
                <a:latin typeface="Figtree" pitchFamily="2" charset="0"/>
                <a:cs typeface="Arial"/>
              </a:rPr>
              <a:t>20,000</a:t>
            </a:r>
          </a:p>
          <a:p>
            <a:r>
              <a:rPr lang="en-US" sz="2000" dirty="0">
                <a:solidFill>
                  <a:schemeClr val="tx2"/>
                </a:solidFill>
                <a:latin typeface="Figtree" pitchFamily="2" charset="0"/>
                <a:cs typeface="Arial"/>
              </a:rPr>
              <a:t>Enabled</a:t>
            </a:r>
          </a:p>
        </p:txBody>
      </p:sp>
      <p:sp>
        <p:nvSpPr>
          <p:cNvPr id="25" name="TextBox 24">
            <a:extLst>
              <a:ext uri="{FF2B5EF4-FFF2-40B4-BE49-F238E27FC236}">
                <a16:creationId xmlns:a16="http://schemas.microsoft.com/office/drawing/2014/main" id="{5C53C91E-FF6E-52CC-80D1-D21CB26B7ACE}"/>
              </a:ext>
            </a:extLst>
          </p:cNvPr>
          <p:cNvSpPr txBox="1"/>
          <p:nvPr/>
        </p:nvSpPr>
        <p:spPr>
          <a:xfrm>
            <a:off x="5204316" y="4356610"/>
            <a:ext cx="1798984"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chemeClr val="tx2"/>
                </a:solidFill>
                <a:latin typeface="Figtree" pitchFamily="2" charset="0"/>
                <a:cs typeface="Arial"/>
              </a:rPr>
              <a:t>9,285</a:t>
            </a:r>
          </a:p>
          <a:p>
            <a:r>
              <a:rPr lang="en-US" sz="1500" b="1" dirty="0">
                <a:solidFill>
                  <a:schemeClr val="tx2"/>
                </a:solidFill>
                <a:latin typeface="Figtree" pitchFamily="2" charset="0"/>
                <a:cs typeface="Arial"/>
              </a:rPr>
              <a:t>Achieved to date</a:t>
            </a:r>
          </a:p>
        </p:txBody>
      </p:sp>
      <p:sp>
        <p:nvSpPr>
          <p:cNvPr id="26" name="TextBox 25">
            <a:extLst>
              <a:ext uri="{FF2B5EF4-FFF2-40B4-BE49-F238E27FC236}">
                <a16:creationId xmlns:a16="http://schemas.microsoft.com/office/drawing/2014/main" id="{818F6E31-DDCA-6206-2353-58C48B2684C0}"/>
              </a:ext>
            </a:extLst>
          </p:cNvPr>
          <p:cNvSpPr txBox="1"/>
          <p:nvPr/>
        </p:nvSpPr>
        <p:spPr>
          <a:xfrm>
            <a:off x="169790" y="2415859"/>
            <a:ext cx="1829172" cy="7848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3000" b="1" dirty="0">
                <a:solidFill>
                  <a:schemeClr val="tx2"/>
                </a:solidFill>
                <a:latin typeface="Figtree" pitchFamily="2" charset="0"/>
                <a:cs typeface="Arial"/>
              </a:rPr>
              <a:t>21,243</a:t>
            </a:r>
          </a:p>
          <a:p>
            <a:pPr algn="r"/>
            <a:r>
              <a:rPr lang="en-US" sz="1500" b="1" dirty="0">
                <a:solidFill>
                  <a:schemeClr val="tx2"/>
                </a:solidFill>
                <a:latin typeface="Figtree" pitchFamily="2" charset="0"/>
                <a:cs typeface="Arial"/>
              </a:rPr>
              <a:t>Achieved to date</a:t>
            </a:r>
          </a:p>
        </p:txBody>
      </p:sp>
      <p:sp>
        <p:nvSpPr>
          <p:cNvPr id="27" name="TextBox 26">
            <a:extLst>
              <a:ext uri="{FF2B5EF4-FFF2-40B4-BE49-F238E27FC236}">
                <a16:creationId xmlns:a16="http://schemas.microsoft.com/office/drawing/2014/main" id="{89B4633C-BF7A-ADA0-CBBF-A541C3EE4356}"/>
              </a:ext>
            </a:extLst>
          </p:cNvPr>
          <p:cNvSpPr txBox="1"/>
          <p:nvPr/>
        </p:nvSpPr>
        <p:spPr>
          <a:xfrm>
            <a:off x="3529438" y="1936604"/>
            <a:ext cx="212540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tx2"/>
                </a:solidFill>
                <a:latin typeface="Arial" panose="020B0604020202020204" pitchFamily="34" charset="0"/>
                <a:cs typeface="Arial" panose="020B0604020202020204" pitchFamily="34" charset="0"/>
              </a:rPr>
              <a:t>CONSTRUCTION JOBS</a:t>
            </a:r>
          </a:p>
        </p:txBody>
      </p:sp>
      <p:pic>
        <p:nvPicPr>
          <p:cNvPr id="28" name="Graphic 27" descr="Checkbox Checked with solid fill">
            <a:extLst>
              <a:ext uri="{FF2B5EF4-FFF2-40B4-BE49-F238E27FC236}">
                <a16:creationId xmlns:a16="http://schemas.microsoft.com/office/drawing/2014/main" id="{6D5188BF-B201-9C05-418F-7FFC6AF9B8C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257014" y="4325641"/>
            <a:ext cx="545145" cy="545145"/>
          </a:xfrm>
          <a:prstGeom prst="rect">
            <a:avLst/>
          </a:prstGeom>
        </p:spPr>
      </p:pic>
      <p:pic>
        <p:nvPicPr>
          <p:cNvPr id="29" name="Graphic 28" descr="Checkbox Checked with solid fill">
            <a:extLst>
              <a:ext uri="{FF2B5EF4-FFF2-40B4-BE49-F238E27FC236}">
                <a16:creationId xmlns:a16="http://schemas.microsoft.com/office/drawing/2014/main" id="{5DB56755-896B-2F35-D952-3B465B5B23F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5191" y="2416297"/>
            <a:ext cx="545145" cy="545145"/>
          </a:xfrm>
          <a:prstGeom prst="rect">
            <a:avLst/>
          </a:prstGeom>
        </p:spPr>
      </p:pic>
      <p:sp>
        <p:nvSpPr>
          <p:cNvPr id="35" name="TextBox 34">
            <a:extLst>
              <a:ext uri="{FF2B5EF4-FFF2-40B4-BE49-F238E27FC236}">
                <a16:creationId xmlns:a16="http://schemas.microsoft.com/office/drawing/2014/main" id="{D938C91E-0474-A63E-4B7D-4753B463E1A1}"/>
              </a:ext>
            </a:extLst>
          </p:cNvPr>
          <p:cNvSpPr txBox="1"/>
          <p:nvPr/>
        </p:nvSpPr>
        <p:spPr>
          <a:xfrm>
            <a:off x="7437382" y="5363102"/>
            <a:ext cx="4357292" cy="830997"/>
          </a:xfrm>
          <a:prstGeom prst="rect">
            <a:avLst/>
          </a:prstGeom>
          <a:noFill/>
        </p:spPr>
        <p:txBody>
          <a:bodyPr wrap="square">
            <a:spAutoFit/>
          </a:bodyPr>
          <a:lstStyle/>
          <a:p>
            <a:pPr marL="0" marR="0">
              <a:spcBef>
                <a:spcPts val="0"/>
              </a:spcBef>
              <a:spcAft>
                <a:spcPts val="0"/>
              </a:spcAft>
            </a:pPr>
            <a:r>
              <a:rPr lang="en-US" sz="1200" dirty="0">
                <a:solidFill>
                  <a:srgbClr val="383838"/>
                </a:solidFill>
                <a:effectLst/>
                <a:latin typeface="Arial" panose="020B0604020202020204" pitchFamily="34" charset="0"/>
                <a:ea typeface="Aptos" panose="020B0004020202020204" pitchFamily="34" charset="0"/>
                <a:cs typeface="Arial" panose="020B0604020202020204" pitchFamily="34" charset="0"/>
              </a:rPr>
              <a:t>To date, we have invested $600 million across the 40209 Advanced Manufacturing in Energy Communities program and through 48C tax credit allocations to go towards new-build green industrial product facilities.</a:t>
            </a:r>
          </a:p>
        </p:txBody>
      </p:sp>
      <p:grpSp>
        <p:nvGrpSpPr>
          <p:cNvPr id="45" name="Group 44">
            <a:extLst>
              <a:ext uri="{FF2B5EF4-FFF2-40B4-BE49-F238E27FC236}">
                <a16:creationId xmlns:a16="http://schemas.microsoft.com/office/drawing/2014/main" id="{014888E8-646E-4730-0A5B-22BDEF1C19BF}"/>
              </a:ext>
            </a:extLst>
          </p:cNvPr>
          <p:cNvGrpSpPr/>
          <p:nvPr/>
        </p:nvGrpSpPr>
        <p:grpSpPr>
          <a:xfrm>
            <a:off x="7298114" y="4632843"/>
            <a:ext cx="4572000" cy="620925"/>
            <a:chOff x="7355827" y="4365370"/>
            <a:chExt cx="4572000" cy="620925"/>
          </a:xfrm>
        </p:grpSpPr>
        <p:sp>
          <p:nvSpPr>
            <p:cNvPr id="37" name="Rounded Rectangle 36">
              <a:extLst>
                <a:ext uri="{FF2B5EF4-FFF2-40B4-BE49-F238E27FC236}">
                  <a16:creationId xmlns:a16="http://schemas.microsoft.com/office/drawing/2014/main" id="{5676CC80-94A6-F68D-0844-5A6A5AFF955D}"/>
                </a:ext>
              </a:extLst>
            </p:cNvPr>
            <p:cNvSpPr/>
            <p:nvPr/>
          </p:nvSpPr>
          <p:spPr>
            <a:xfrm>
              <a:off x="7355827" y="4365370"/>
              <a:ext cx="4572000" cy="620925"/>
            </a:xfrm>
            <a:prstGeom prst="roundRect">
              <a:avLst>
                <a:gd name="adj" fmla="val 50000"/>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ounded Rectangle 40">
              <a:extLst>
                <a:ext uri="{FF2B5EF4-FFF2-40B4-BE49-F238E27FC236}">
                  <a16:creationId xmlns:a16="http://schemas.microsoft.com/office/drawing/2014/main" id="{3128E9F1-DFA9-DEE8-B1FE-7F7203E6530F}"/>
                </a:ext>
              </a:extLst>
            </p:cNvPr>
            <p:cNvSpPr/>
            <p:nvPr/>
          </p:nvSpPr>
          <p:spPr>
            <a:xfrm>
              <a:off x="7355829" y="4365370"/>
              <a:ext cx="2743200" cy="620925"/>
            </a:xfrm>
            <a:prstGeom prst="roundRect">
              <a:avLst>
                <a:gd name="adj" fmla="val 50000"/>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253E0A07-4B11-9D32-6747-D64A4E479A1A}"/>
                </a:ext>
              </a:extLst>
            </p:cNvPr>
            <p:cNvSpPr txBox="1"/>
            <p:nvPr/>
          </p:nvSpPr>
          <p:spPr>
            <a:xfrm>
              <a:off x="7355828" y="4398833"/>
              <a:ext cx="2644744"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dirty="0">
                  <a:solidFill>
                    <a:schemeClr val="tx2"/>
                  </a:solidFill>
                  <a:latin typeface="Figtree" pitchFamily="2" charset="0"/>
                  <a:cs typeface="Arial"/>
                </a:rPr>
                <a:t>$600M</a:t>
              </a:r>
              <a:endParaRPr lang="en-US" sz="1500" b="1" dirty="0">
                <a:solidFill>
                  <a:schemeClr val="tx2"/>
                </a:solidFill>
                <a:latin typeface="Figtree" pitchFamily="2" charset="0"/>
                <a:cs typeface="Arial"/>
              </a:endParaRPr>
            </a:p>
          </p:txBody>
        </p:sp>
        <p:sp>
          <p:nvSpPr>
            <p:cNvPr id="43" name="TextBox 42">
              <a:extLst>
                <a:ext uri="{FF2B5EF4-FFF2-40B4-BE49-F238E27FC236}">
                  <a16:creationId xmlns:a16="http://schemas.microsoft.com/office/drawing/2014/main" id="{5C64D400-168D-BB8B-CFEF-8AA93B3283AE}"/>
                </a:ext>
              </a:extLst>
            </p:cNvPr>
            <p:cNvSpPr txBox="1"/>
            <p:nvPr/>
          </p:nvSpPr>
          <p:spPr>
            <a:xfrm>
              <a:off x="10000571" y="4398833"/>
              <a:ext cx="1819902"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dirty="0">
                  <a:solidFill>
                    <a:schemeClr val="accent3"/>
                  </a:solidFill>
                  <a:latin typeface="Figtree" pitchFamily="2" charset="0"/>
                  <a:cs typeface="Arial"/>
                </a:rPr>
                <a:t>$1B</a:t>
              </a:r>
              <a:endParaRPr lang="en-US" sz="1500" b="1" dirty="0">
                <a:solidFill>
                  <a:schemeClr val="accent3"/>
                </a:solidFill>
                <a:latin typeface="Figtree" pitchFamily="2" charset="0"/>
                <a:cs typeface="Arial"/>
              </a:endParaRPr>
            </a:p>
          </p:txBody>
        </p:sp>
      </p:grpSp>
      <p:sp>
        <p:nvSpPr>
          <p:cNvPr id="44" name="TextBox 43">
            <a:extLst>
              <a:ext uri="{FF2B5EF4-FFF2-40B4-BE49-F238E27FC236}">
                <a16:creationId xmlns:a16="http://schemas.microsoft.com/office/drawing/2014/main" id="{8D389AA1-6FE0-052C-1530-EBFF8FC20DC7}"/>
              </a:ext>
            </a:extLst>
          </p:cNvPr>
          <p:cNvSpPr txBox="1"/>
          <p:nvPr/>
        </p:nvSpPr>
        <p:spPr>
          <a:xfrm>
            <a:off x="7915419" y="3915681"/>
            <a:ext cx="3233814" cy="707886"/>
          </a:xfrm>
          <a:prstGeom prst="rect">
            <a:avLst/>
          </a:prstGeom>
          <a:noFill/>
        </p:spPr>
        <p:txBody>
          <a:bodyPr wrap="square">
            <a:spAutoFit/>
          </a:bodyPr>
          <a:lstStyle/>
          <a:p>
            <a:pPr marL="11113" lvl="1" algn="ctr"/>
            <a:r>
              <a:rPr lang="en-US" sz="2000" dirty="0">
                <a:solidFill>
                  <a:schemeClr val="tx2"/>
                </a:solidFill>
                <a:latin typeface="Arial" panose="020B0604020202020204" pitchFamily="34" charset="0"/>
                <a:cs typeface="Arial" panose="020B0604020202020204" pitchFamily="34" charset="0"/>
              </a:rPr>
              <a:t>Invest </a:t>
            </a:r>
            <a:r>
              <a:rPr lang="en-US" sz="2000" b="1" dirty="0">
                <a:solidFill>
                  <a:schemeClr val="tx2"/>
                </a:solidFill>
                <a:latin typeface="Arial" panose="020B0604020202020204" pitchFamily="34" charset="0"/>
                <a:cs typeface="Arial" panose="020B0604020202020204" pitchFamily="34" charset="0"/>
              </a:rPr>
              <a:t>$1B </a:t>
            </a:r>
            <a:r>
              <a:rPr lang="en-US" sz="2000" dirty="0">
                <a:solidFill>
                  <a:schemeClr val="tx2"/>
                </a:solidFill>
                <a:latin typeface="Arial" panose="020B0604020202020204" pitchFamily="34" charset="0"/>
                <a:cs typeface="Arial" panose="020B0604020202020204" pitchFamily="34" charset="0"/>
              </a:rPr>
              <a:t>in </a:t>
            </a:r>
            <a:r>
              <a:rPr lang="en-US" sz="2000" b="1" dirty="0">
                <a:solidFill>
                  <a:schemeClr val="tx2"/>
                </a:solidFill>
                <a:latin typeface="Arial" panose="020B0604020202020204" pitchFamily="34" charset="0"/>
                <a:cs typeface="Arial" panose="020B0604020202020204" pitchFamily="34" charset="0"/>
              </a:rPr>
              <a:t>GREEN INDUSTRIAL FACILITIES </a:t>
            </a:r>
          </a:p>
        </p:txBody>
      </p:sp>
      <p:sp>
        <p:nvSpPr>
          <p:cNvPr id="46" name="Rounded Rectangle 45">
            <a:extLst>
              <a:ext uri="{FF2B5EF4-FFF2-40B4-BE49-F238E27FC236}">
                <a16:creationId xmlns:a16="http://schemas.microsoft.com/office/drawing/2014/main" id="{D63F4EF9-67FF-3D53-4314-59A059F581BF}"/>
              </a:ext>
            </a:extLst>
          </p:cNvPr>
          <p:cNvSpPr/>
          <p:nvPr/>
        </p:nvSpPr>
        <p:spPr>
          <a:xfrm>
            <a:off x="1900517" y="822371"/>
            <a:ext cx="3477242" cy="984243"/>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Figtree" pitchFamily="2" charset="0"/>
            </a:endParaRPr>
          </a:p>
        </p:txBody>
      </p:sp>
      <p:sp>
        <p:nvSpPr>
          <p:cNvPr id="47" name="TextBox 46">
            <a:extLst>
              <a:ext uri="{FF2B5EF4-FFF2-40B4-BE49-F238E27FC236}">
                <a16:creationId xmlns:a16="http://schemas.microsoft.com/office/drawing/2014/main" id="{F8A2172C-BB59-01DD-EF9A-CAE731B99332}"/>
              </a:ext>
            </a:extLst>
          </p:cNvPr>
          <p:cNvSpPr txBox="1"/>
          <p:nvPr/>
        </p:nvSpPr>
        <p:spPr>
          <a:xfrm>
            <a:off x="2038041" y="949718"/>
            <a:ext cx="2161954"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400" dirty="0">
                <a:solidFill>
                  <a:schemeClr val="accent3"/>
                </a:solidFill>
                <a:latin typeface="Avenir Light" panose="020B0402020203020204" pitchFamily="34" charset="77"/>
              </a:rPr>
              <a:t>30,528</a:t>
            </a:r>
          </a:p>
        </p:txBody>
      </p:sp>
      <p:sp>
        <p:nvSpPr>
          <p:cNvPr id="48" name="TextBox 47">
            <a:extLst>
              <a:ext uri="{FF2B5EF4-FFF2-40B4-BE49-F238E27FC236}">
                <a16:creationId xmlns:a16="http://schemas.microsoft.com/office/drawing/2014/main" id="{2377793C-2B34-FB56-9BFB-DEF30299F18A}"/>
              </a:ext>
            </a:extLst>
          </p:cNvPr>
          <p:cNvSpPr txBox="1"/>
          <p:nvPr/>
        </p:nvSpPr>
        <p:spPr>
          <a:xfrm>
            <a:off x="3802346" y="1037725"/>
            <a:ext cx="157541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chemeClr val="bg1"/>
                </a:solidFill>
                <a:latin typeface="Figtree" pitchFamily="2" charset="0"/>
              </a:rPr>
              <a:t>TOTAL JOBS CREATED</a:t>
            </a:r>
            <a:endParaRPr lang="en-US" sz="1600" dirty="0">
              <a:solidFill>
                <a:schemeClr val="bg1"/>
              </a:solidFill>
              <a:latin typeface="Figtree" pitchFamily="2" charset="0"/>
              <a:cs typeface="Arial"/>
            </a:endParaRPr>
          </a:p>
        </p:txBody>
      </p:sp>
      <p:sp>
        <p:nvSpPr>
          <p:cNvPr id="49" name="Rounded Rectangle 48">
            <a:extLst>
              <a:ext uri="{FF2B5EF4-FFF2-40B4-BE49-F238E27FC236}">
                <a16:creationId xmlns:a16="http://schemas.microsoft.com/office/drawing/2014/main" id="{FA5014E5-10FD-1949-0C78-1694BFE9B923}"/>
              </a:ext>
            </a:extLst>
          </p:cNvPr>
          <p:cNvSpPr/>
          <p:nvPr/>
        </p:nvSpPr>
        <p:spPr>
          <a:xfrm>
            <a:off x="8046133" y="1099139"/>
            <a:ext cx="2866931" cy="984243"/>
          </a:xfrm>
          <a:prstGeom prst="round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Figtree" pitchFamily="2" charset="0"/>
            </a:endParaRPr>
          </a:p>
        </p:txBody>
      </p:sp>
      <p:sp>
        <p:nvSpPr>
          <p:cNvPr id="50" name="TextBox 49">
            <a:extLst>
              <a:ext uri="{FF2B5EF4-FFF2-40B4-BE49-F238E27FC236}">
                <a16:creationId xmlns:a16="http://schemas.microsoft.com/office/drawing/2014/main" id="{C2666766-02A2-BA53-F0FC-25CEAC9FFA33}"/>
              </a:ext>
            </a:extLst>
          </p:cNvPr>
          <p:cNvSpPr txBox="1"/>
          <p:nvPr/>
        </p:nvSpPr>
        <p:spPr>
          <a:xfrm>
            <a:off x="8183657" y="1226486"/>
            <a:ext cx="2161954"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400" dirty="0">
                <a:solidFill>
                  <a:schemeClr val="accent3"/>
                </a:solidFill>
                <a:latin typeface="Avenir Light" panose="020B0402020203020204" pitchFamily="34" charset="77"/>
              </a:rPr>
              <a:t>$20B</a:t>
            </a:r>
          </a:p>
        </p:txBody>
      </p:sp>
      <p:sp>
        <p:nvSpPr>
          <p:cNvPr id="51" name="TextBox 50">
            <a:extLst>
              <a:ext uri="{FF2B5EF4-FFF2-40B4-BE49-F238E27FC236}">
                <a16:creationId xmlns:a16="http://schemas.microsoft.com/office/drawing/2014/main" id="{1C0CA3FA-824B-7147-6942-9865A70F068B}"/>
              </a:ext>
            </a:extLst>
          </p:cNvPr>
          <p:cNvSpPr txBox="1"/>
          <p:nvPr/>
        </p:nvSpPr>
        <p:spPr>
          <a:xfrm>
            <a:off x="9573821" y="1314493"/>
            <a:ext cx="1575412"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chemeClr val="bg1"/>
                </a:solidFill>
                <a:latin typeface="Figtree" pitchFamily="2" charset="0"/>
              </a:rPr>
              <a:t>MADE AVAILABLE</a:t>
            </a:r>
            <a:endParaRPr lang="en-US" sz="1600" dirty="0">
              <a:solidFill>
                <a:schemeClr val="bg1"/>
              </a:solidFill>
              <a:latin typeface="Figtree" pitchFamily="2" charset="0"/>
              <a:cs typeface="Arial"/>
            </a:endParaRPr>
          </a:p>
        </p:txBody>
      </p:sp>
    </p:spTree>
    <p:extLst>
      <p:ext uri="{BB962C8B-B14F-4D97-AF65-F5344CB8AC3E}">
        <p14:creationId xmlns:p14="http://schemas.microsoft.com/office/powerpoint/2010/main" val="2507636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2DACE4-684D-0705-3A8B-7C8FA97B7B13}"/>
              </a:ext>
            </a:extLst>
          </p:cNvPr>
          <p:cNvSpPr/>
          <p:nvPr/>
        </p:nvSpPr>
        <p:spPr>
          <a:xfrm>
            <a:off x="385184" y="2103806"/>
            <a:ext cx="4681636" cy="3245089"/>
          </a:xfrm>
          <a:prstGeom prst="rect">
            <a:avLst/>
          </a:prstGeom>
          <a:solidFill>
            <a:schemeClr val="bg1">
              <a:lumMod val="95000"/>
            </a:schemeClr>
          </a:solidFill>
          <a:ln w="127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A5474B38-4204-F2EA-DFE9-A551254A4ACE}"/>
              </a:ext>
            </a:extLst>
          </p:cNvPr>
          <p:cNvSpPr>
            <a:spLocks/>
          </p:cNvSpPr>
          <p:nvPr/>
        </p:nvSpPr>
        <p:spPr>
          <a:xfrm>
            <a:off x="506219" y="2278135"/>
            <a:ext cx="4414514" cy="3045708"/>
          </a:xfrm>
          <a:prstGeom prst="rect">
            <a:avLst/>
          </a:prstGeom>
        </p:spPr>
        <p:txBody>
          <a:bodyPr vert="horz" lIns="91440" tIns="45720" rIns="91440" bIns="45720" rtlCol="0" anchor="t">
            <a:noAutofit/>
          </a:bodyPr>
          <a:lst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Arial" panose="020B0604020202020204" pitchFamily="34" charset="0"/>
                <a:ea typeface="+mn-ea"/>
                <a:cs typeface="Arial" panose="020B0604020202020204" pitchFamily="34" charset="0"/>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Arial" panose="020B0604020202020204" pitchFamily="34" charset="0"/>
                <a:ea typeface="+mn-ea"/>
                <a:cs typeface="Arial" panose="020B0604020202020204" pitchFamily="34" charset="0"/>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lnSpc>
                <a:spcPct val="100000"/>
              </a:lnSpc>
              <a:spcBef>
                <a:spcPts val="0"/>
              </a:spcBef>
              <a:buNone/>
            </a:pPr>
            <a:r>
              <a:rPr lang="en-US" sz="1800" b="1" dirty="0">
                <a:solidFill>
                  <a:schemeClr val="tx2"/>
                </a:solidFill>
              </a:rPr>
              <a:t>US MANUFACTURING </a:t>
            </a:r>
          </a:p>
          <a:p>
            <a:pPr marL="0" indent="0" algn="ctr">
              <a:lnSpc>
                <a:spcPct val="100000"/>
              </a:lnSpc>
              <a:spcBef>
                <a:spcPts val="0"/>
              </a:spcBef>
              <a:spcAft>
                <a:spcPts val="1500"/>
              </a:spcAft>
              <a:buNone/>
            </a:pPr>
            <a:r>
              <a:rPr lang="en-US" sz="1800" b="1" dirty="0">
                <a:solidFill>
                  <a:schemeClr val="tx2"/>
                </a:solidFill>
              </a:rPr>
              <a:t>INVESTMENT ANNOUNCEMENTS</a:t>
            </a:r>
          </a:p>
          <a:p>
            <a:pPr marL="0" indent="0">
              <a:lnSpc>
                <a:spcPct val="100000"/>
              </a:lnSpc>
              <a:buNone/>
              <a:tabLst>
                <a:tab pos="1371600" algn="l"/>
              </a:tabLst>
            </a:pPr>
            <a:r>
              <a:rPr lang="en-US" sz="1800" b="1" dirty="0">
                <a:solidFill>
                  <a:schemeClr val="tx2"/>
                </a:solidFill>
              </a:rPr>
              <a:t>$120 billion+ </a:t>
            </a:r>
            <a:r>
              <a:rPr lang="en-US" sz="1800" dirty="0">
                <a:solidFill>
                  <a:srgbClr val="000000"/>
                </a:solidFill>
              </a:rPr>
              <a:t>Batteries </a:t>
            </a:r>
          </a:p>
          <a:p>
            <a:pPr marL="0" indent="0">
              <a:lnSpc>
                <a:spcPct val="100000"/>
              </a:lnSpc>
              <a:buNone/>
              <a:tabLst>
                <a:tab pos="1371600" algn="l"/>
              </a:tabLst>
            </a:pPr>
            <a:r>
              <a:rPr lang="en-US" sz="1800" b="1" dirty="0">
                <a:solidFill>
                  <a:schemeClr val="tx2"/>
                </a:solidFill>
              </a:rPr>
              <a:t>$35 billion+</a:t>
            </a:r>
            <a:r>
              <a:rPr lang="en-US" sz="1800" b="1" dirty="0">
                <a:solidFill>
                  <a:srgbClr val="000000"/>
                </a:solidFill>
              </a:rPr>
              <a:t>	 </a:t>
            </a:r>
            <a:r>
              <a:rPr lang="en-US" sz="1800" dirty="0">
                <a:solidFill>
                  <a:srgbClr val="000000"/>
                </a:solidFill>
              </a:rPr>
              <a:t>EVs &amp; EV Chargers </a:t>
            </a:r>
          </a:p>
          <a:p>
            <a:pPr marL="0" indent="0">
              <a:lnSpc>
                <a:spcPct val="100000"/>
              </a:lnSpc>
              <a:buNone/>
              <a:tabLst>
                <a:tab pos="1371600" algn="l"/>
              </a:tabLst>
            </a:pPr>
            <a:r>
              <a:rPr lang="en-US" sz="1800" b="1" dirty="0">
                <a:solidFill>
                  <a:schemeClr val="tx2"/>
                </a:solidFill>
              </a:rPr>
              <a:t>$16 billion+</a:t>
            </a:r>
            <a:r>
              <a:rPr lang="en-US" sz="1800" b="1" dirty="0">
                <a:solidFill>
                  <a:srgbClr val="000000"/>
                </a:solidFill>
              </a:rPr>
              <a:t>	 </a:t>
            </a:r>
            <a:r>
              <a:rPr lang="en-US" sz="1800" dirty="0">
                <a:solidFill>
                  <a:srgbClr val="000000"/>
                </a:solidFill>
              </a:rPr>
              <a:t>Solar </a:t>
            </a:r>
          </a:p>
          <a:p>
            <a:pPr marL="0" indent="0">
              <a:lnSpc>
                <a:spcPct val="100000"/>
              </a:lnSpc>
              <a:buNone/>
              <a:tabLst>
                <a:tab pos="1371600" algn="l"/>
              </a:tabLst>
            </a:pPr>
            <a:r>
              <a:rPr lang="en-US" sz="1800" b="1" dirty="0">
                <a:solidFill>
                  <a:schemeClr val="tx2"/>
                </a:solidFill>
              </a:rPr>
              <a:t>$3.5 billion+  </a:t>
            </a:r>
            <a:r>
              <a:rPr lang="en-US" sz="1800" dirty="0"/>
              <a:t>Of</a:t>
            </a:r>
            <a:r>
              <a:rPr lang="en-US" sz="1800" dirty="0">
                <a:solidFill>
                  <a:srgbClr val="000000"/>
                </a:solidFill>
              </a:rPr>
              <a:t>fshore Wind </a:t>
            </a:r>
          </a:p>
          <a:p>
            <a:pPr marL="0" indent="0">
              <a:lnSpc>
                <a:spcPct val="100000"/>
              </a:lnSpc>
              <a:buNone/>
              <a:tabLst>
                <a:tab pos="1371600" algn="l"/>
              </a:tabLst>
            </a:pPr>
            <a:r>
              <a:rPr lang="en-US" sz="1800" b="1" dirty="0">
                <a:solidFill>
                  <a:schemeClr val="tx2"/>
                </a:solidFill>
              </a:rPr>
              <a:t>$2 billion+     </a:t>
            </a:r>
            <a:r>
              <a:rPr lang="en-US" sz="1800" dirty="0" err="1">
                <a:solidFill>
                  <a:srgbClr val="000000"/>
                </a:solidFill>
              </a:rPr>
              <a:t>Electrolyzers</a:t>
            </a:r>
            <a:r>
              <a:rPr lang="en-US" sz="1800" dirty="0">
                <a:solidFill>
                  <a:srgbClr val="000000"/>
                </a:solidFill>
              </a:rPr>
              <a:t> &amp; Fuel Cells </a:t>
            </a:r>
            <a:endParaRPr lang="en-US" sz="1800" dirty="0"/>
          </a:p>
          <a:p>
            <a:pPr marL="227965" indent="-227965">
              <a:lnSpc>
                <a:spcPct val="100000"/>
              </a:lnSpc>
            </a:pPr>
            <a:endParaRPr lang="en-US" sz="2200" b="1" dirty="0">
              <a:solidFill>
                <a:srgbClr val="000000"/>
              </a:solidFill>
            </a:endParaRPr>
          </a:p>
          <a:p>
            <a:pPr marL="227965" indent="-227965">
              <a:lnSpc>
                <a:spcPct val="100000"/>
              </a:lnSpc>
            </a:pPr>
            <a:endParaRPr lang="en-US" sz="2000" dirty="0">
              <a:solidFill>
                <a:srgbClr val="000000"/>
              </a:solidFill>
            </a:endParaRPr>
          </a:p>
          <a:p>
            <a:pPr marL="227965" indent="-227965"/>
            <a:endParaRPr lang="en-US" sz="2000" dirty="0">
              <a:solidFill>
                <a:srgbClr val="000000"/>
              </a:solidFill>
            </a:endParaRPr>
          </a:p>
          <a:p>
            <a:pPr marL="0" indent="0">
              <a:buNone/>
            </a:pPr>
            <a:endParaRPr lang="en-US" sz="2000" dirty="0">
              <a:solidFill>
                <a:srgbClr val="000000"/>
              </a:solidFill>
            </a:endParaRPr>
          </a:p>
        </p:txBody>
      </p:sp>
      <p:sp>
        <p:nvSpPr>
          <p:cNvPr id="14" name="Title 1">
            <a:extLst>
              <a:ext uri="{FF2B5EF4-FFF2-40B4-BE49-F238E27FC236}">
                <a16:creationId xmlns:a16="http://schemas.microsoft.com/office/drawing/2014/main" id="{977DA83E-502C-FE9C-A64C-ED2BC2EF615E}"/>
              </a:ext>
            </a:extLst>
          </p:cNvPr>
          <p:cNvSpPr>
            <a:spLocks noGrp="1"/>
          </p:cNvSpPr>
          <p:nvPr>
            <p:ph type="title"/>
          </p:nvPr>
        </p:nvSpPr>
        <p:spPr/>
        <p:txBody>
          <a:bodyPr>
            <a:noAutofit/>
          </a:bodyPr>
          <a:lstStyle/>
          <a:p>
            <a:pPr algn="l"/>
            <a:r>
              <a:rPr lang="en-US" sz="3000" dirty="0">
                <a:latin typeface="Figtree" pitchFamily="2" charset="0"/>
                <a:cs typeface="Segoe UI"/>
              </a:rPr>
              <a:t>Manufacturing is </a:t>
            </a:r>
            <a:br>
              <a:rPr lang="en-US" sz="3000" dirty="0">
                <a:latin typeface="Figtree" pitchFamily="2" charset="0"/>
                <a:cs typeface="Segoe UI"/>
              </a:rPr>
            </a:br>
            <a:r>
              <a:rPr lang="en-US" sz="3000" dirty="0">
                <a:latin typeface="Figtree" pitchFamily="2" charset="0"/>
                <a:cs typeface="Segoe UI"/>
              </a:rPr>
              <a:t>accelerating across </a:t>
            </a:r>
            <a:br>
              <a:rPr lang="en-US" sz="3000" dirty="0">
                <a:latin typeface="Figtree" pitchFamily="2" charset="0"/>
                <a:cs typeface="Segoe UI"/>
              </a:rPr>
            </a:br>
            <a:r>
              <a:rPr lang="en-US" sz="3000" dirty="0">
                <a:latin typeface="Figtree" pitchFamily="2" charset="0"/>
                <a:cs typeface="Segoe UI"/>
              </a:rPr>
              <a:t>clean energy technologies</a:t>
            </a:r>
          </a:p>
        </p:txBody>
      </p:sp>
      <p:pic>
        <p:nvPicPr>
          <p:cNvPr id="5" name="Picture 4" descr="A map of the world with different colored pins&#10;&#10;Description automatically generated">
            <a:extLst>
              <a:ext uri="{FF2B5EF4-FFF2-40B4-BE49-F238E27FC236}">
                <a16:creationId xmlns:a16="http://schemas.microsoft.com/office/drawing/2014/main" id="{44132B9A-309B-505F-6AD6-108DC4EE0D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38953" y="842066"/>
            <a:ext cx="6167863" cy="3793071"/>
          </a:xfrm>
          <a:prstGeom prst="rect">
            <a:avLst/>
          </a:prstGeom>
        </p:spPr>
      </p:pic>
      <p:pic>
        <p:nvPicPr>
          <p:cNvPr id="12" name="Picture 11">
            <a:extLst>
              <a:ext uri="{FF2B5EF4-FFF2-40B4-BE49-F238E27FC236}">
                <a16:creationId xmlns:a16="http://schemas.microsoft.com/office/drawing/2014/main" id="{4839EB71-88EE-9CFC-FC71-0E766CC1A35C}"/>
              </a:ext>
            </a:extLst>
          </p:cNvPr>
          <p:cNvPicPr>
            <a:picLocks noChangeAspect="1"/>
          </p:cNvPicPr>
          <p:nvPr/>
        </p:nvPicPr>
        <p:blipFill>
          <a:blip r:embed="rId5" cstate="screen">
            <a:extLst>
              <a:ext uri="{28A0092B-C50C-407E-A947-70E740481C1C}">
                <a14:useLocalDpi xmlns:a14="http://schemas.microsoft.com/office/drawing/2010/main"/>
              </a:ext>
            </a:extLst>
          </a:blip>
          <a:srcRect l="71" t="2883" r="67162" b="68908"/>
          <a:stretch/>
        </p:blipFill>
        <p:spPr>
          <a:xfrm>
            <a:off x="5299106" y="4536366"/>
            <a:ext cx="2531125" cy="2040004"/>
          </a:xfrm>
          <a:prstGeom prst="rect">
            <a:avLst/>
          </a:prstGeom>
        </p:spPr>
      </p:pic>
    </p:spTree>
    <p:extLst>
      <p:ext uri="{BB962C8B-B14F-4D97-AF65-F5344CB8AC3E}">
        <p14:creationId xmlns:p14="http://schemas.microsoft.com/office/powerpoint/2010/main" val="213240619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30361E-4928-7B74-1BF5-FA1103CD10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D130361E-4928-7B74-1BF5-FA1103CD1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563E7A2-3973-ACA7-0FB8-5FAA8A3F4C20}"/>
              </a:ext>
            </a:extLst>
          </p:cNvPr>
          <p:cNvSpPr>
            <a:spLocks noGrp="1"/>
          </p:cNvSpPr>
          <p:nvPr>
            <p:ph type="title"/>
          </p:nvPr>
        </p:nvSpPr>
        <p:spPr/>
        <p:txBody>
          <a:bodyPr vert="horz"/>
          <a:lstStyle/>
          <a:p>
            <a:r>
              <a:rPr lang="en-GB" sz="2800" b="1" dirty="0"/>
              <a:t>U.S. battery supply chain readiness scored as “moderate” as </a:t>
            </a:r>
            <a:br>
              <a:rPr lang="en-GB" sz="2800" b="1" dirty="0"/>
            </a:br>
            <a:r>
              <a:rPr lang="en-GB" sz="2800" b="1" dirty="0"/>
              <a:t>domestic production ramps up </a:t>
            </a:r>
          </a:p>
        </p:txBody>
      </p:sp>
      <mc:AlternateContent xmlns:mc="http://schemas.openxmlformats.org/markup-compatibility/2006" xmlns:cx1="http://schemas.microsoft.com/office/drawing/2015/9/8/chartex">
        <mc:Choice Requires="cx1">
          <p:graphicFrame>
            <p:nvGraphicFramePr>
              <p:cNvPr id="7" name="Chart 6">
                <a:extLst>
                  <a:ext uri="{FF2B5EF4-FFF2-40B4-BE49-F238E27FC236}">
                    <a16:creationId xmlns:a16="http://schemas.microsoft.com/office/drawing/2014/main" id="{44EECB1F-2983-1515-6149-4FBB38C79C07}"/>
                  </a:ext>
                </a:extLst>
              </p:cNvPr>
              <p:cNvGraphicFramePr/>
              <p:nvPr/>
            </p:nvGraphicFramePr>
            <p:xfrm>
              <a:off x="5680186" y="1597507"/>
              <a:ext cx="3738065" cy="3499560"/>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7" name="Chart 6">
                <a:extLst>
                  <a:ext uri="{FF2B5EF4-FFF2-40B4-BE49-F238E27FC236}">
                    <a16:creationId xmlns:a16="http://schemas.microsoft.com/office/drawing/2014/main" id="{44EECB1F-2983-1515-6149-4FBB38C79C07}"/>
                  </a:ext>
                </a:extLst>
              </p:cNvPr>
              <p:cNvPicPr>
                <a:picLocks noGrp="1" noRot="1" noChangeAspect="1" noMove="1" noResize="1" noEditPoints="1" noAdjustHandles="1" noChangeArrowheads="1" noChangeShapeType="1"/>
              </p:cNvPicPr>
              <p:nvPr/>
            </p:nvPicPr>
            <p:blipFill>
              <a:blip r:embed="rId6"/>
              <a:stretch>
                <a:fillRect/>
              </a:stretch>
            </p:blipFill>
            <p:spPr>
              <a:xfrm>
                <a:off x="5680186" y="1597507"/>
                <a:ext cx="3738065" cy="3499560"/>
              </a:xfrm>
              <a:prstGeom prst="rect">
                <a:avLst/>
              </a:prstGeom>
            </p:spPr>
          </p:pic>
        </mc:Fallback>
      </mc:AlternateContent>
      <p:grpSp>
        <p:nvGrpSpPr>
          <p:cNvPr id="9" name="Group 8">
            <a:extLst>
              <a:ext uri="{FF2B5EF4-FFF2-40B4-BE49-F238E27FC236}">
                <a16:creationId xmlns:a16="http://schemas.microsoft.com/office/drawing/2014/main" id="{C4E835C2-9C16-50E2-32C1-98F6B3F459ED}"/>
              </a:ext>
            </a:extLst>
          </p:cNvPr>
          <p:cNvGrpSpPr/>
          <p:nvPr/>
        </p:nvGrpSpPr>
        <p:grpSpPr>
          <a:xfrm>
            <a:off x="614754" y="5097006"/>
            <a:ext cx="10943675" cy="1320495"/>
            <a:chOff x="383910" y="5004272"/>
            <a:chExt cx="11842140" cy="1320495"/>
          </a:xfrm>
        </p:grpSpPr>
        <p:sp>
          <p:nvSpPr>
            <p:cNvPr id="10" name="Rectangle 9">
              <a:extLst>
                <a:ext uri="{FF2B5EF4-FFF2-40B4-BE49-F238E27FC236}">
                  <a16:creationId xmlns:a16="http://schemas.microsoft.com/office/drawing/2014/main" id="{AC49E6E0-EBA4-8F01-5CC3-9702E9DF8519}"/>
                </a:ext>
              </a:extLst>
            </p:cNvPr>
            <p:cNvSpPr/>
            <p:nvPr/>
          </p:nvSpPr>
          <p:spPr>
            <a:xfrm>
              <a:off x="383910" y="5004272"/>
              <a:ext cx="11842140" cy="132049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11" name="TextBox 10">
              <a:extLst>
                <a:ext uri="{FF2B5EF4-FFF2-40B4-BE49-F238E27FC236}">
                  <a16:creationId xmlns:a16="http://schemas.microsoft.com/office/drawing/2014/main" id="{511C129A-3160-F91A-5896-629633370C08}"/>
                </a:ext>
              </a:extLst>
            </p:cNvPr>
            <p:cNvSpPr txBox="1"/>
            <p:nvPr/>
          </p:nvSpPr>
          <p:spPr>
            <a:xfrm>
              <a:off x="519778" y="5158845"/>
              <a:ext cx="2164652" cy="468556"/>
            </a:xfrm>
            <a:prstGeom prst="rect">
              <a:avLst/>
            </a:prstGeom>
            <a:ln w="6350">
              <a:noFill/>
              <a:miter lim="800000"/>
            </a:ln>
          </p:spPr>
          <p:txBody>
            <a:bodyPr vert="horz" wrap="square" lIns="0" tIns="0" rIns="0" bIns="0" rtlCol="0">
              <a:noAutofit/>
            </a:bodyPr>
            <a:lstStyle/>
            <a:p>
              <a:pPr algn="l">
                <a:buNone/>
              </a:pPr>
              <a:r>
                <a:rPr lang="en-GB" sz="1400" b="1"/>
                <a:t>Upstream Materials</a:t>
              </a:r>
            </a:p>
          </p:txBody>
        </p:sp>
        <p:sp>
          <p:nvSpPr>
            <p:cNvPr id="12" name="TextBox 11">
              <a:extLst>
                <a:ext uri="{FF2B5EF4-FFF2-40B4-BE49-F238E27FC236}">
                  <a16:creationId xmlns:a16="http://schemas.microsoft.com/office/drawing/2014/main" id="{42608DF8-B075-453E-DE33-1E9E3D833006}"/>
                </a:ext>
              </a:extLst>
            </p:cNvPr>
            <p:cNvSpPr txBox="1"/>
            <p:nvPr/>
          </p:nvSpPr>
          <p:spPr>
            <a:xfrm>
              <a:off x="519778" y="5540767"/>
              <a:ext cx="1589122" cy="28410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1400" b="1"/>
                <a:t>Manufacturing</a:t>
              </a:r>
            </a:p>
          </p:txBody>
        </p:sp>
        <p:sp>
          <p:nvSpPr>
            <p:cNvPr id="13" name="TextBox 12">
              <a:extLst>
                <a:ext uri="{FF2B5EF4-FFF2-40B4-BE49-F238E27FC236}">
                  <a16:creationId xmlns:a16="http://schemas.microsoft.com/office/drawing/2014/main" id="{3534810A-5435-C1E3-BA3A-7A8BAEF61152}"/>
                </a:ext>
              </a:extLst>
            </p:cNvPr>
            <p:cNvSpPr txBox="1"/>
            <p:nvPr/>
          </p:nvSpPr>
          <p:spPr>
            <a:xfrm>
              <a:off x="554735" y="5932963"/>
              <a:ext cx="1080393" cy="27382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GB" sz="1400" b="1"/>
                <a:t>Workforce </a:t>
              </a:r>
            </a:p>
          </p:txBody>
        </p:sp>
        <p:sp>
          <p:nvSpPr>
            <p:cNvPr id="14" name="TextBox 13">
              <a:extLst>
                <a:ext uri="{FF2B5EF4-FFF2-40B4-BE49-F238E27FC236}">
                  <a16:creationId xmlns:a16="http://schemas.microsoft.com/office/drawing/2014/main" id="{D4270836-69B1-AA27-0DB9-599D50F757DD}"/>
                </a:ext>
              </a:extLst>
            </p:cNvPr>
            <p:cNvSpPr txBox="1"/>
            <p:nvPr/>
          </p:nvSpPr>
          <p:spPr>
            <a:xfrm>
              <a:off x="2428706" y="5088315"/>
              <a:ext cx="761956" cy="338554"/>
            </a:xfrm>
            <a:prstGeom prst="rect">
              <a:avLst/>
            </a:prstGeom>
            <a:solidFill>
              <a:srgbClr val="FF6600"/>
            </a:solidFill>
          </p:spPr>
          <p:txBody>
            <a:bodyPr wrap="square" lIns="91440" tIns="45720" rIns="91440" bIns="45720" rtlCol="0" anchor="ctr">
              <a:spAutoFit/>
            </a:bodyPr>
            <a:lstStyle/>
            <a:p>
              <a:pPr algn="ctr"/>
              <a:endParaRPr lang="en-US" sz="1600" b="1">
                <a:solidFill>
                  <a:schemeClr val="bg1"/>
                </a:solidFill>
              </a:endParaRPr>
            </a:p>
          </p:txBody>
        </p:sp>
        <p:sp>
          <p:nvSpPr>
            <p:cNvPr id="15" name="TextBox 14">
              <a:extLst>
                <a:ext uri="{FF2B5EF4-FFF2-40B4-BE49-F238E27FC236}">
                  <a16:creationId xmlns:a16="http://schemas.microsoft.com/office/drawing/2014/main" id="{8E7E75C6-C6A5-9C62-EF07-50D26AE16E91}"/>
                </a:ext>
              </a:extLst>
            </p:cNvPr>
            <p:cNvSpPr txBox="1"/>
            <p:nvPr/>
          </p:nvSpPr>
          <p:spPr>
            <a:xfrm>
              <a:off x="2428706" y="5486314"/>
              <a:ext cx="761956" cy="338554"/>
            </a:xfrm>
            <a:prstGeom prst="rect">
              <a:avLst/>
            </a:prstGeom>
            <a:solidFill>
              <a:srgbClr val="EF9A1D"/>
            </a:solidFill>
          </p:spPr>
          <p:txBody>
            <a:bodyPr wrap="square" lIns="91440" tIns="45720" rIns="91440" bIns="45720" rtlCol="0" anchor="ctr">
              <a:spAutoFit/>
            </a:bodyPr>
            <a:lstStyle/>
            <a:p>
              <a:pPr algn="ctr"/>
              <a:endParaRPr lang="en-US" sz="1600" b="1">
                <a:solidFill>
                  <a:schemeClr val="bg1"/>
                </a:solidFill>
              </a:endParaRPr>
            </a:p>
          </p:txBody>
        </p:sp>
        <p:sp>
          <p:nvSpPr>
            <p:cNvPr id="16" name="TextBox 15">
              <a:extLst>
                <a:ext uri="{FF2B5EF4-FFF2-40B4-BE49-F238E27FC236}">
                  <a16:creationId xmlns:a16="http://schemas.microsoft.com/office/drawing/2014/main" id="{47FCA1AB-6B5B-67CA-59F2-39E6EE791BF0}"/>
                </a:ext>
              </a:extLst>
            </p:cNvPr>
            <p:cNvSpPr txBox="1"/>
            <p:nvPr/>
          </p:nvSpPr>
          <p:spPr>
            <a:xfrm>
              <a:off x="2428706" y="5887810"/>
              <a:ext cx="761956" cy="338554"/>
            </a:xfrm>
            <a:prstGeom prst="rect">
              <a:avLst/>
            </a:prstGeom>
            <a:solidFill>
              <a:srgbClr val="FF0000"/>
            </a:solidFill>
          </p:spPr>
          <p:txBody>
            <a:bodyPr wrap="square" lIns="91440" tIns="45720" rIns="91440" bIns="45720" rtlCol="0" anchor="ctr">
              <a:spAutoFit/>
            </a:bodyPr>
            <a:lstStyle/>
            <a:p>
              <a:pPr algn="ctr"/>
              <a:endParaRPr lang="en-US" sz="1600" b="1">
                <a:solidFill>
                  <a:schemeClr val="bg1"/>
                </a:solidFill>
              </a:endParaRPr>
            </a:p>
          </p:txBody>
        </p:sp>
      </p:grpSp>
      <p:sp>
        <p:nvSpPr>
          <p:cNvPr id="19" name="Speech Bubble: Rectangle 18">
            <a:extLst>
              <a:ext uri="{FF2B5EF4-FFF2-40B4-BE49-F238E27FC236}">
                <a16:creationId xmlns:a16="http://schemas.microsoft.com/office/drawing/2014/main" id="{1E625BC0-9F69-C2BC-8B07-721AAF443EA9}"/>
              </a:ext>
            </a:extLst>
          </p:cNvPr>
          <p:cNvSpPr/>
          <p:nvPr/>
        </p:nvSpPr>
        <p:spPr>
          <a:xfrm>
            <a:off x="9609008" y="2552051"/>
            <a:ext cx="2028256" cy="1116320"/>
          </a:xfrm>
          <a:prstGeom prst="wedgeRectCallout">
            <a:avLst>
              <a:gd name="adj1" fmla="val -69632"/>
              <a:gd name="adj2" fmla="val -7130"/>
            </a:avLst>
          </a:prstGeom>
          <a:solidFill>
            <a:schemeClr val="bg1">
              <a:alpha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200">
                <a:solidFill>
                  <a:schemeClr val="tx1"/>
                </a:solidFill>
              </a:rPr>
              <a:t>Cathode: limited due to sourcing risk management reliance on PRC for processing of lithium, nickel, and cobalt. </a:t>
            </a:r>
          </a:p>
        </p:txBody>
      </p:sp>
      <p:sp>
        <p:nvSpPr>
          <p:cNvPr id="6" name="Rectangle 5">
            <a:extLst>
              <a:ext uri="{FF2B5EF4-FFF2-40B4-BE49-F238E27FC236}">
                <a16:creationId xmlns:a16="http://schemas.microsoft.com/office/drawing/2014/main" id="{9F678583-FE2A-7ADC-5472-ED8D1AFDD37C}"/>
              </a:ext>
            </a:extLst>
          </p:cNvPr>
          <p:cNvSpPr/>
          <p:nvPr/>
        </p:nvSpPr>
        <p:spPr>
          <a:xfrm>
            <a:off x="446894" y="1160394"/>
            <a:ext cx="6313502" cy="470144"/>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a:solidFill>
                  <a:schemeClr val="tx1"/>
                </a:solidFill>
              </a:rPr>
              <a:t>Supply Chain Readiness Example: NMC-Gr, 2024:  MODERATE</a:t>
            </a:r>
          </a:p>
        </p:txBody>
      </p:sp>
      <p:cxnSp>
        <p:nvCxnSpPr>
          <p:cNvPr id="35" name="Straight Connector 34">
            <a:extLst>
              <a:ext uri="{FF2B5EF4-FFF2-40B4-BE49-F238E27FC236}">
                <a16:creationId xmlns:a16="http://schemas.microsoft.com/office/drawing/2014/main" id="{A00CA33F-B0B0-0527-CDA6-16564C461C80}"/>
              </a:ext>
            </a:extLst>
          </p:cNvPr>
          <p:cNvCxnSpPr>
            <a:cxnSpLocks/>
          </p:cNvCxnSpPr>
          <p:nvPr/>
        </p:nvCxnSpPr>
        <p:spPr>
          <a:xfrm>
            <a:off x="554736" y="1566744"/>
            <a:ext cx="1108252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Speech Bubble: Rectangle 56">
            <a:extLst>
              <a:ext uri="{FF2B5EF4-FFF2-40B4-BE49-F238E27FC236}">
                <a16:creationId xmlns:a16="http://schemas.microsoft.com/office/drawing/2014/main" id="{E5C4C787-4A34-5F55-B893-856A4CF5ABB2}"/>
              </a:ext>
            </a:extLst>
          </p:cNvPr>
          <p:cNvSpPr/>
          <p:nvPr/>
        </p:nvSpPr>
        <p:spPr>
          <a:xfrm>
            <a:off x="3512797" y="2817501"/>
            <a:ext cx="2173684" cy="876503"/>
          </a:xfrm>
          <a:prstGeom prst="wedgeRectCallout">
            <a:avLst>
              <a:gd name="adj1" fmla="val 62398"/>
              <a:gd name="adj2" fmla="val -1529"/>
            </a:avLst>
          </a:prstGeom>
          <a:solidFill>
            <a:schemeClr val="bg1">
              <a:alpha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200">
                <a:solidFill>
                  <a:schemeClr val="tx1"/>
                </a:solidFill>
              </a:rPr>
              <a:t>Separators: moderate, due to available supply from trading partners </a:t>
            </a:r>
          </a:p>
        </p:txBody>
      </p:sp>
      <p:sp>
        <p:nvSpPr>
          <p:cNvPr id="58" name="Speech Bubble: Rectangle 57">
            <a:extLst>
              <a:ext uri="{FF2B5EF4-FFF2-40B4-BE49-F238E27FC236}">
                <a16:creationId xmlns:a16="http://schemas.microsoft.com/office/drawing/2014/main" id="{D6142EC1-E9F6-EDDA-81D2-FC90412236FB}"/>
              </a:ext>
            </a:extLst>
          </p:cNvPr>
          <p:cNvSpPr/>
          <p:nvPr/>
        </p:nvSpPr>
        <p:spPr>
          <a:xfrm>
            <a:off x="3882843" y="4004013"/>
            <a:ext cx="2028256" cy="987505"/>
          </a:xfrm>
          <a:prstGeom prst="wedgeRectCallout">
            <a:avLst>
              <a:gd name="adj1" fmla="val 65111"/>
              <a:gd name="adj2" fmla="val -33820"/>
            </a:avLst>
          </a:prstGeom>
          <a:solidFill>
            <a:schemeClr val="bg1">
              <a:alpha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200">
                <a:solidFill>
                  <a:schemeClr val="tx1"/>
                </a:solidFill>
              </a:rPr>
              <a:t>Anode: limited, due to sourcing risk management and cost competitiveness related to PRC production capacity</a:t>
            </a:r>
          </a:p>
        </p:txBody>
      </p:sp>
      <p:sp>
        <p:nvSpPr>
          <p:cNvPr id="59" name="Rectangle 58">
            <a:extLst>
              <a:ext uri="{FF2B5EF4-FFF2-40B4-BE49-F238E27FC236}">
                <a16:creationId xmlns:a16="http://schemas.microsoft.com/office/drawing/2014/main" id="{521F9A4A-B1F8-04B3-B138-DAE4E493D746}"/>
              </a:ext>
            </a:extLst>
          </p:cNvPr>
          <p:cNvSpPr/>
          <p:nvPr/>
        </p:nvSpPr>
        <p:spPr>
          <a:xfrm>
            <a:off x="3421298" y="5181049"/>
            <a:ext cx="7890552" cy="3385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tx1"/>
                </a:solidFill>
              </a:rPr>
              <a:t>Limited due to nascent processing and refining capacity for battery-grade metals and materials</a:t>
            </a:r>
          </a:p>
        </p:txBody>
      </p:sp>
      <p:sp>
        <p:nvSpPr>
          <p:cNvPr id="60" name="Rectangle 59">
            <a:extLst>
              <a:ext uri="{FF2B5EF4-FFF2-40B4-BE49-F238E27FC236}">
                <a16:creationId xmlns:a16="http://schemas.microsoft.com/office/drawing/2014/main" id="{242D395B-F11F-9FD1-1A20-ED5E7913A97E}"/>
              </a:ext>
            </a:extLst>
          </p:cNvPr>
          <p:cNvSpPr/>
          <p:nvPr/>
        </p:nvSpPr>
        <p:spPr>
          <a:xfrm>
            <a:off x="3398165" y="5589710"/>
            <a:ext cx="7890552" cy="3385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tx1"/>
                </a:solidFill>
              </a:rPr>
              <a:t>Moderate due to available supply and customers in domestic and trading partner markets </a:t>
            </a:r>
          </a:p>
        </p:txBody>
      </p:sp>
      <p:sp>
        <p:nvSpPr>
          <p:cNvPr id="61" name="Rectangle 60">
            <a:extLst>
              <a:ext uri="{FF2B5EF4-FFF2-40B4-BE49-F238E27FC236}">
                <a16:creationId xmlns:a16="http://schemas.microsoft.com/office/drawing/2014/main" id="{7F18AD84-B81D-41C9-F277-C05D113A3948}"/>
              </a:ext>
            </a:extLst>
          </p:cNvPr>
          <p:cNvSpPr/>
          <p:nvPr/>
        </p:nvSpPr>
        <p:spPr>
          <a:xfrm>
            <a:off x="3398165" y="5988705"/>
            <a:ext cx="7890552" cy="338537"/>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050">
                <a:solidFill>
                  <a:schemeClr val="tx1"/>
                </a:solidFill>
              </a:rPr>
              <a:t>Low due to labor supply and demand gap and hiring difficulty compared to other manufacturing sectors  </a:t>
            </a:r>
          </a:p>
        </p:txBody>
      </p:sp>
      <p:sp>
        <p:nvSpPr>
          <p:cNvPr id="65" name="Rectangle 64">
            <a:extLst>
              <a:ext uri="{FF2B5EF4-FFF2-40B4-BE49-F238E27FC236}">
                <a16:creationId xmlns:a16="http://schemas.microsoft.com/office/drawing/2014/main" id="{14ABCB17-676B-8AE4-04C8-19F8F8591967}"/>
              </a:ext>
            </a:extLst>
          </p:cNvPr>
          <p:cNvSpPr/>
          <p:nvPr/>
        </p:nvSpPr>
        <p:spPr>
          <a:xfrm>
            <a:off x="554736" y="1704579"/>
            <a:ext cx="2767304" cy="329402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600">
                <a:solidFill>
                  <a:schemeClr val="tx1"/>
                </a:solidFill>
              </a:rPr>
              <a:t>Trading partner relationships add stability, with mature supplier inputs, end customers, and markets</a:t>
            </a:r>
          </a:p>
          <a:p>
            <a:pPr marL="285750" indent="-285750">
              <a:spcBef>
                <a:spcPts val="300"/>
              </a:spcBef>
              <a:spcAft>
                <a:spcPts val="300"/>
              </a:spcAft>
              <a:buFont typeface="Arial" panose="020B0604020202020204" pitchFamily="34" charset="0"/>
              <a:buChar char="•"/>
            </a:pPr>
            <a:r>
              <a:rPr lang="en-US" sz="1600">
                <a:solidFill>
                  <a:schemeClr val="tx1"/>
                </a:solidFill>
              </a:rPr>
              <a:t>US production faces cost competitiveness challenges against global price benchmarks (~20% price delta) across upstream materials and manufacturing</a:t>
            </a:r>
          </a:p>
          <a:p>
            <a:pPr>
              <a:spcBef>
                <a:spcPts val="300"/>
              </a:spcBef>
              <a:spcAft>
                <a:spcPts val="300"/>
              </a:spcAft>
            </a:pPr>
            <a:endParaRPr lang="en-US" sz="1600">
              <a:solidFill>
                <a:schemeClr val="tx1"/>
              </a:solidFill>
            </a:endParaRPr>
          </a:p>
        </p:txBody>
      </p:sp>
      <p:grpSp>
        <p:nvGrpSpPr>
          <p:cNvPr id="52" name="Group 51">
            <a:extLst>
              <a:ext uri="{FF2B5EF4-FFF2-40B4-BE49-F238E27FC236}">
                <a16:creationId xmlns:a16="http://schemas.microsoft.com/office/drawing/2014/main" id="{4A9DB546-7E6D-993B-163E-F88A6E8E9CBC}"/>
              </a:ext>
            </a:extLst>
          </p:cNvPr>
          <p:cNvGrpSpPr/>
          <p:nvPr/>
        </p:nvGrpSpPr>
        <p:grpSpPr>
          <a:xfrm>
            <a:off x="10085465" y="1636869"/>
            <a:ext cx="1551799" cy="478190"/>
            <a:chOff x="554735" y="1567449"/>
            <a:chExt cx="1551799" cy="478190"/>
          </a:xfrm>
        </p:grpSpPr>
        <p:sp>
          <p:nvSpPr>
            <p:cNvPr id="53" name="Rectangle 52">
              <a:extLst>
                <a:ext uri="{FF2B5EF4-FFF2-40B4-BE49-F238E27FC236}">
                  <a16:creationId xmlns:a16="http://schemas.microsoft.com/office/drawing/2014/main" id="{E5FCCB4A-0DD5-B5CA-9034-C74A9CB38425}"/>
                </a:ext>
              </a:extLst>
            </p:cNvPr>
            <p:cNvSpPr/>
            <p:nvPr/>
          </p:nvSpPr>
          <p:spPr>
            <a:xfrm rot="10800000">
              <a:off x="562853" y="1809141"/>
              <a:ext cx="1530604" cy="227192"/>
            </a:xfrm>
            <a:prstGeom prst="rect">
              <a:avLst/>
            </a:prstGeom>
            <a:gradFill flip="none" rotWithShape="1">
              <a:gsLst>
                <a:gs pos="0">
                  <a:srgbClr val="EE7677"/>
                </a:gs>
                <a:gs pos="30000">
                  <a:srgbClr val="FEBB8A"/>
                </a:gs>
                <a:gs pos="61000">
                  <a:srgbClr val="FEE8BB"/>
                </a:gs>
                <a:gs pos="94000">
                  <a:srgbClr val="7BB58E"/>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95CD7C50-177E-A89A-5D0A-019610526187}"/>
                </a:ext>
              </a:extLst>
            </p:cNvPr>
            <p:cNvSpPr txBox="1"/>
            <p:nvPr/>
          </p:nvSpPr>
          <p:spPr>
            <a:xfrm>
              <a:off x="554735" y="1784029"/>
              <a:ext cx="536105" cy="261610"/>
            </a:xfrm>
            <a:prstGeom prst="rect">
              <a:avLst/>
            </a:prstGeom>
            <a:noFill/>
          </p:spPr>
          <p:txBody>
            <a:bodyPr wrap="square" rtlCol="0">
              <a:spAutoFit/>
            </a:bodyPr>
            <a:lstStyle/>
            <a:p>
              <a:pPr algn="l"/>
              <a:r>
                <a:rPr lang="en-US" sz="1100" b="0">
                  <a:latin typeface="+mj-lt"/>
                </a:rPr>
                <a:t>Low</a:t>
              </a:r>
            </a:p>
          </p:txBody>
        </p:sp>
        <p:sp>
          <p:nvSpPr>
            <p:cNvPr id="55" name="TextBox 54">
              <a:extLst>
                <a:ext uri="{FF2B5EF4-FFF2-40B4-BE49-F238E27FC236}">
                  <a16:creationId xmlns:a16="http://schemas.microsoft.com/office/drawing/2014/main" id="{5C2D3200-FFD7-6A96-E95E-A35CFA0C90FD}"/>
                </a:ext>
              </a:extLst>
            </p:cNvPr>
            <p:cNvSpPr txBox="1"/>
            <p:nvPr/>
          </p:nvSpPr>
          <p:spPr>
            <a:xfrm>
              <a:off x="1570428" y="1784029"/>
              <a:ext cx="536106" cy="261610"/>
            </a:xfrm>
            <a:prstGeom prst="rect">
              <a:avLst/>
            </a:prstGeom>
            <a:noFill/>
          </p:spPr>
          <p:txBody>
            <a:bodyPr wrap="square" rtlCol="0">
              <a:spAutoFit/>
            </a:bodyPr>
            <a:lstStyle/>
            <a:p>
              <a:pPr algn="r"/>
              <a:r>
                <a:rPr lang="en-US" sz="1100" b="0">
                  <a:latin typeface="+mj-lt"/>
                </a:rPr>
                <a:t>High</a:t>
              </a:r>
            </a:p>
          </p:txBody>
        </p:sp>
        <p:sp>
          <p:nvSpPr>
            <p:cNvPr id="56" name="TextBox 55">
              <a:extLst>
                <a:ext uri="{FF2B5EF4-FFF2-40B4-BE49-F238E27FC236}">
                  <a16:creationId xmlns:a16="http://schemas.microsoft.com/office/drawing/2014/main" id="{AF733F88-6587-AE1A-B38F-5C5ED514AD82}"/>
                </a:ext>
              </a:extLst>
            </p:cNvPr>
            <p:cNvSpPr txBox="1"/>
            <p:nvPr/>
          </p:nvSpPr>
          <p:spPr>
            <a:xfrm>
              <a:off x="562852" y="1567449"/>
              <a:ext cx="1417405" cy="261610"/>
            </a:xfrm>
            <a:prstGeom prst="rect">
              <a:avLst/>
            </a:prstGeom>
            <a:noFill/>
          </p:spPr>
          <p:txBody>
            <a:bodyPr wrap="square" rtlCol="0">
              <a:spAutoFit/>
            </a:bodyPr>
            <a:lstStyle/>
            <a:p>
              <a:pPr algn="ctr"/>
              <a:r>
                <a:rPr lang="en-US" sz="1100" b="1">
                  <a:latin typeface="+mj-lt"/>
                </a:rPr>
                <a:t>Overall readiness</a:t>
              </a:r>
            </a:p>
          </p:txBody>
        </p:sp>
      </p:grpSp>
      <p:sp>
        <p:nvSpPr>
          <p:cNvPr id="20" name="Speech Bubble: Rectangle 19">
            <a:extLst>
              <a:ext uri="{FF2B5EF4-FFF2-40B4-BE49-F238E27FC236}">
                <a16:creationId xmlns:a16="http://schemas.microsoft.com/office/drawing/2014/main" id="{AF596082-50DB-58D5-90EA-AB36B2205E61}"/>
              </a:ext>
            </a:extLst>
          </p:cNvPr>
          <p:cNvSpPr/>
          <p:nvPr/>
        </p:nvSpPr>
        <p:spPr>
          <a:xfrm>
            <a:off x="3801628" y="1898479"/>
            <a:ext cx="2485812" cy="619268"/>
          </a:xfrm>
          <a:prstGeom prst="wedgeRectCallout">
            <a:avLst>
              <a:gd name="adj1" fmla="val 59539"/>
              <a:gd name="adj2" fmla="val 27844"/>
            </a:avLst>
          </a:prstGeom>
          <a:solidFill>
            <a:schemeClr val="bg1">
              <a:alpha val="6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defRPr/>
            </a:pPr>
            <a:r>
              <a:rPr lang="en-US" sz="1200">
                <a:solidFill>
                  <a:schemeClr val="tx1"/>
                </a:solidFill>
              </a:rPr>
              <a:t>Electrolyte: low readiness on supplier maturity and cost competitiveness</a:t>
            </a:r>
          </a:p>
        </p:txBody>
      </p:sp>
      <p:sp>
        <p:nvSpPr>
          <p:cNvPr id="2" name="TextBox 1">
            <a:extLst>
              <a:ext uri="{FF2B5EF4-FFF2-40B4-BE49-F238E27FC236}">
                <a16:creationId xmlns:a16="http://schemas.microsoft.com/office/drawing/2014/main" id="{4607717F-1529-C2DC-AB83-DD25D21BF348}"/>
              </a:ext>
            </a:extLst>
          </p:cNvPr>
          <p:cNvSpPr txBox="1"/>
          <p:nvPr/>
        </p:nvSpPr>
        <p:spPr>
          <a:xfrm>
            <a:off x="6968193" y="3040247"/>
            <a:ext cx="1162050" cy="646331"/>
          </a:xfrm>
          <a:prstGeom prst="rect">
            <a:avLst/>
          </a:prstGeom>
          <a:noFill/>
        </p:spPr>
        <p:txBody>
          <a:bodyPr wrap="square" rtlCol="0">
            <a:spAutoFit/>
          </a:bodyPr>
          <a:lstStyle/>
          <a:p>
            <a:pPr algn="ctr"/>
            <a:r>
              <a:rPr lang="en-US" sz="1800" b="1">
                <a:solidFill>
                  <a:schemeClr val="tx1"/>
                </a:solidFill>
              </a:rPr>
              <a:t>NMC-Gr battery</a:t>
            </a:r>
            <a:endParaRPr lang="en-US"/>
          </a:p>
        </p:txBody>
      </p:sp>
    </p:spTree>
    <p:extLst>
      <p:ext uri="{BB962C8B-B14F-4D97-AF65-F5344CB8AC3E}">
        <p14:creationId xmlns:p14="http://schemas.microsoft.com/office/powerpoint/2010/main" val="458753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a:extLst>
              <a:ext uri="{FF2B5EF4-FFF2-40B4-BE49-F238E27FC236}">
                <a16:creationId xmlns:a16="http://schemas.microsoft.com/office/drawing/2014/main" id="{07F1CC0B-F6EB-B58E-2DF4-6D8C989A479F}"/>
              </a:ext>
            </a:extLst>
          </p:cNvPr>
          <p:cNvGraphicFramePr>
            <a:graphicFrameLocks noChangeAspect="1"/>
          </p:cNvGraphicFramePr>
          <p:nvPr>
            <p:custDataLst>
              <p:tags r:id="rId1"/>
            </p:custDataLst>
            <p:extLst>
              <p:ext uri="{D42A27DB-BD31-4B8C-83A1-F6EECF244321}">
                <p14:modId xmlns:p14="http://schemas.microsoft.com/office/powerpoint/2010/main" val="2993957128"/>
              </p:ext>
            </p:extLst>
          </p:nvPr>
        </p:nvGraphicFramePr>
        <p:xfrm>
          <a:off x="-50596" y="-509672"/>
          <a:ext cx="1588" cy="1588"/>
        </p:xfrm>
        <a:graphic>
          <a:graphicData uri="http://schemas.openxmlformats.org/presentationml/2006/ole">
            <mc:AlternateContent xmlns:mc="http://schemas.openxmlformats.org/markup-compatibility/2006">
              <mc:Choice xmlns:v="urn:schemas-microsoft-com:vml" Requires="v">
                <p:oleObj name="think-cell Slide" r:id="rId5" imgW="608" imgH="609" progId="TCLayout.ActiveDocument.1">
                  <p:embed/>
                </p:oleObj>
              </mc:Choice>
              <mc:Fallback>
                <p:oleObj name="think-cell Slide" r:id="rId5" imgW="608" imgH="609" progId="TCLayout.ActiveDocument.1">
                  <p:embed/>
                  <p:pic>
                    <p:nvPicPr>
                      <p:cNvPr id="11" name="think-cell data - do not delete">
                        <a:extLst>
                          <a:ext uri="{FF2B5EF4-FFF2-40B4-BE49-F238E27FC236}">
                            <a16:creationId xmlns:a16="http://schemas.microsoft.com/office/drawing/2014/main" id="{07F1CC0B-F6EB-B58E-2DF4-6D8C989A479F}"/>
                          </a:ext>
                        </a:extLst>
                      </p:cNvPr>
                      <p:cNvPicPr/>
                      <p:nvPr/>
                    </p:nvPicPr>
                    <p:blipFill>
                      <a:blip r:embed="rId6"/>
                      <a:stretch>
                        <a:fillRect/>
                      </a:stretch>
                    </p:blipFill>
                    <p:spPr>
                      <a:xfrm>
                        <a:off x="-50596" y="-509672"/>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CD4D9F-A3B5-2BFA-262D-12B5F7BE9986}"/>
              </a:ext>
            </a:extLst>
          </p:cNvPr>
          <p:cNvSpPr>
            <a:spLocks noGrp="1"/>
          </p:cNvSpPr>
          <p:nvPr>
            <p:ph type="title"/>
          </p:nvPr>
        </p:nvSpPr>
        <p:spPr/>
        <p:txBody>
          <a:bodyPr vert="horz">
            <a:noAutofit/>
          </a:bodyPr>
          <a:lstStyle/>
          <a:p>
            <a:r>
              <a:rPr lang="en-US" sz="3000" b="0" dirty="0">
                <a:latin typeface="Avenir Medium" panose="02000503020000020003" pitchFamily="2" charset="0"/>
                <a:cs typeface="Segoe UI" panose="020B0502040204020203" pitchFamily="34" charset="0"/>
              </a:rPr>
              <a:t>MESC </a:t>
            </a:r>
            <a:r>
              <a:rPr lang="en-US" sz="3000" b="0" dirty="0">
                <a:cs typeface="Segoe UI" panose="020B0502040204020203" pitchFamily="34" charset="0"/>
              </a:rPr>
              <a:t>Programs</a:t>
            </a:r>
          </a:p>
        </p:txBody>
      </p:sp>
      <p:sp>
        <p:nvSpPr>
          <p:cNvPr id="28" name="Slide Number Placeholder 3">
            <a:extLst>
              <a:ext uri="{FF2B5EF4-FFF2-40B4-BE49-F238E27FC236}">
                <a16:creationId xmlns:a16="http://schemas.microsoft.com/office/drawing/2014/main" id="{020AF98D-2E1F-D9EC-D19C-43D1DCA5E6A0}"/>
              </a:ext>
            </a:extLst>
          </p:cNvPr>
          <p:cNvSpPr>
            <a:spLocks noGrp="1"/>
          </p:cNvSpPr>
          <p:nvPr>
            <p:ph type="sldNum" sz="quarter" idx="4"/>
          </p:nvPr>
        </p:nvSpPr>
        <p:spPr>
          <a:prstGeom prst="rect">
            <a:avLst/>
          </a:prstGeom>
        </p:spPr>
        <p:txBody>
          <a:bodyPr/>
          <a:lstStyle/>
          <a:p>
            <a:pPr algn="r"/>
            <a:fld id="{02B5F485-982A-41B4-B657-C5770F0E9220}" type="slidenum">
              <a:rPr lang="en-US" smtClean="0"/>
              <a:pPr algn="r"/>
              <a:t>8</a:t>
            </a:fld>
            <a:endParaRPr lang="en-US"/>
          </a:p>
        </p:txBody>
      </p:sp>
      <p:graphicFrame>
        <p:nvGraphicFramePr>
          <p:cNvPr id="7" name="Table 6">
            <a:extLst>
              <a:ext uri="{FF2B5EF4-FFF2-40B4-BE49-F238E27FC236}">
                <a16:creationId xmlns:a16="http://schemas.microsoft.com/office/drawing/2014/main" id="{A8701DFE-9404-2DA5-8D38-1ED56F53BBAA}"/>
              </a:ext>
            </a:extLst>
          </p:cNvPr>
          <p:cNvGraphicFramePr>
            <a:graphicFrameLocks noGrp="1"/>
          </p:cNvGraphicFramePr>
          <p:nvPr>
            <p:extLst>
              <p:ext uri="{D42A27DB-BD31-4B8C-83A1-F6EECF244321}">
                <p14:modId xmlns:p14="http://schemas.microsoft.com/office/powerpoint/2010/main" val="3278433763"/>
              </p:ext>
            </p:extLst>
          </p:nvPr>
        </p:nvGraphicFramePr>
        <p:xfrm>
          <a:off x="441753" y="710892"/>
          <a:ext cx="11009276" cy="5897237"/>
        </p:xfrm>
        <a:graphic>
          <a:graphicData uri="http://schemas.openxmlformats.org/drawingml/2006/table">
            <a:tbl>
              <a:tblPr firstCol="1">
                <a:tableStyleId>{F5AB1C69-6EDB-4FF4-983F-18BD219EF322}</a:tableStyleId>
              </a:tblPr>
              <a:tblGrid>
                <a:gridCol w="969171">
                  <a:extLst>
                    <a:ext uri="{9D8B030D-6E8A-4147-A177-3AD203B41FA5}">
                      <a16:colId xmlns:a16="http://schemas.microsoft.com/office/drawing/2014/main" val="3566353134"/>
                    </a:ext>
                  </a:extLst>
                </a:gridCol>
                <a:gridCol w="2794403">
                  <a:extLst>
                    <a:ext uri="{9D8B030D-6E8A-4147-A177-3AD203B41FA5}">
                      <a16:colId xmlns:a16="http://schemas.microsoft.com/office/drawing/2014/main" val="123614533"/>
                    </a:ext>
                  </a:extLst>
                </a:gridCol>
                <a:gridCol w="1030704">
                  <a:extLst>
                    <a:ext uri="{9D8B030D-6E8A-4147-A177-3AD203B41FA5}">
                      <a16:colId xmlns:a16="http://schemas.microsoft.com/office/drawing/2014/main" val="3567036776"/>
                    </a:ext>
                  </a:extLst>
                </a:gridCol>
                <a:gridCol w="2615223">
                  <a:extLst>
                    <a:ext uri="{9D8B030D-6E8A-4147-A177-3AD203B41FA5}">
                      <a16:colId xmlns:a16="http://schemas.microsoft.com/office/drawing/2014/main" val="1710601179"/>
                    </a:ext>
                  </a:extLst>
                </a:gridCol>
                <a:gridCol w="784564">
                  <a:extLst>
                    <a:ext uri="{9D8B030D-6E8A-4147-A177-3AD203B41FA5}">
                      <a16:colId xmlns:a16="http://schemas.microsoft.com/office/drawing/2014/main" val="310111390"/>
                    </a:ext>
                  </a:extLst>
                </a:gridCol>
                <a:gridCol w="2815211">
                  <a:extLst>
                    <a:ext uri="{9D8B030D-6E8A-4147-A177-3AD203B41FA5}">
                      <a16:colId xmlns:a16="http://schemas.microsoft.com/office/drawing/2014/main" val="3183183714"/>
                    </a:ext>
                  </a:extLst>
                </a:gridCol>
              </a:tblGrid>
              <a:tr h="352271">
                <a:tc gridSpan="2">
                  <a:txBody>
                    <a:bodyPr/>
                    <a:lstStyle/>
                    <a:p>
                      <a:pPr lvl="0" algn="ctr">
                        <a:buNone/>
                      </a:pPr>
                      <a:r>
                        <a:rPr lang="en-US" b="1" i="0" dirty="0">
                          <a:solidFill>
                            <a:schemeClr val="bg1"/>
                          </a:solidFill>
                          <a:latin typeface="Arial" panose="020B0604020202020204" pitchFamily="34" charset="0"/>
                          <a:cs typeface="Arial" panose="020B0604020202020204" pitchFamily="34" charset="0"/>
                        </a:rPr>
                        <a:t>OPEN FOR APPLICATIONS</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b="1">
                        <a:solidFill>
                          <a:schemeClr val="tx1"/>
                        </a:solidFill>
                      </a:endParaRPr>
                    </a:p>
                  </a:txBody>
                  <a:tcPr>
                    <a:solidFill>
                      <a:srgbClr val="FFC000"/>
                    </a:solidFill>
                  </a:tcPr>
                </a:tc>
                <a:tc gridSpan="2">
                  <a:txBody>
                    <a:bodyPr/>
                    <a:lstStyle/>
                    <a:p>
                      <a:pPr lvl="0" algn="ctr">
                        <a:buNone/>
                      </a:pPr>
                      <a:r>
                        <a:rPr lang="en-US" b="1" i="0" dirty="0">
                          <a:solidFill>
                            <a:schemeClr val="bg1"/>
                          </a:solidFill>
                          <a:latin typeface="Arial" panose="020B0604020202020204" pitchFamily="34" charset="0"/>
                          <a:cs typeface="Arial" panose="020B0604020202020204" pitchFamily="34" charset="0"/>
                        </a:rPr>
                        <a:t>UNDER REVIEW</a:t>
                      </a:r>
                    </a:p>
                  </a:txBody>
                  <a:tcPr>
                    <a:lnL w="12700" cmpd="sng">
                      <a:noFill/>
                    </a:lnL>
                    <a:solidFill>
                      <a:schemeClr val="accent1"/>
                    </a:solidFill>
                  </a:tcPr>
                </a:tc>
                <a:tc hMerge="1">
                  <a:txBody>
                    <a:bodyPr/>
                    <a:lstStyle/>
                    <a:p>
                      <a:endParaRPr lang="en-US" b="1"/>
                    </a:p>
                  </a:txBody>
                  <a:tcPr>
                    <a:solidFill>
                      <a:srgbClr val="25ABDF"/>
                    </a:solidFill>
                  </a:tcPr>
                </a:tc>
                <a:tc gridSpan="2">
                  <a:txBody>
                    <a:bodyPr/>
                    <a:lstStyle/>
                    <a:p>
                      <a:pPr lvl="0" algn="ctr">
                        <a:buNone/>
                      </a:pPr>
                      <a:r>
                        <a:rPr lang="en-US" b="1" i="0" dirty="0">
                          <a:solidFill>
                            <a:schemeClr val="bg1"/>
                          </a:solidFill>
                          <a:latin typeface="Arial" panose="020B0604020202020204" pitchFamily="34" charset="0"/>
                          <a:cs typeface="Arial" panose="020B0604020202020204" pitchFamily="34" charset="0"/>
                        </a:rPr>
                        <a:t>SELECTED FOR NEGOTIATION</a:t>
                      </a:r>
                    </a:p>
                  </a:txBody>
                  <a:tcPr>
                    <a:lnB w="12700" cap="flat" cmpd="sng" algn="ctr">
                      <a:solidFill>
                        <a:schemeClr val="bg1"/>
                      </a:solidFill>
                      <a:prstDash val="solid"/>
                      <a:round/>
                      <a:headEnd type="none" w="med" len="med"/>
                      <a:tailEnd type="none" w="med" len="med"/>
                    </a:lnB>
                    <a:solidFill>
                      <a:schemeClr val="accent4"/>
                    </a:solidFill>
                  </a:tcPr>
                </a:tc>
                <a:tc hMerge="1">
                  <a:txBody>
                    <a:bodyPr/>
                    <a:lstStyle/>
                    <a:p>
                      <a:endParaRPr lang="en-US" b="1">
                        <a:solidFill>
                          <a:schemeClr val="tx1"/>
                        </a:solidFill>
                      </a:endParaRPr>
                    </a:p>
                  </a:txBody>
                  <a:tcPr/>
                </a:tc>
                <a:extLst>
                  <a:ext uri="{0D108BD9-81ED-4DB2-BD59-A6C34878D82A}">
                    <a16:rowId xmlns:a16="http://schemas.microsoft.com/office/drawing/2014/main" val="1208760617"/>
                  </a:ext>
                </a:extLst>
              </a:tr>
              <a:tr h="725147">
                <a:tc>
                  <a:txBody>
                    <a:bodyPr/>
                    <a:lstStyle/>
                    <a:p>
                      <a:pPr marL="0" lvl="0" indent="0" algn="l">
                        <a:lnSpc>
                          <a:spcPct val="100000"/>
                        </a:lnSpc>
                        <a:spcBef>
                          <a:spcPts val="0"/>
                        </a:spcBef>
                        <a:spcAft>
                          <a:spcPts val="0"/>
                        </a:spcAft>
                        <a:buNone/>
                      </a:pPr>
                      <a:endParaRPr lang="en-US" sz="1300" b="0" u="none" strike="noStrike" noProof="0" dirty="0">
                        <a:solidFill>
                          <a:srgbClr val="000000"/>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tx2">
                        <a:lumMod val="20000"/>
                        <a:lumOff val="8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0" u="none" strike="noStrike" noProof="0" dirty="0">
                          <a:solidFill>
                            <a:srgbClr val="000000"/>
                          </a:solidFill>
                          <a:latin typeface="Arial" panose="020B0604020202020204" pitchFamily="34" charset="0"/>
                          <a:cs typeface="Arial" panose="020B0604020202020204" pitchFamily="34" charset="0"/>
                        </a:rPr>
                        <a:t>Industrial Assessment Centers Implementation Grants ($400 million)</a:t>
                      </a:r>
                      <a:endParaRPr lang="en-US" sz="1200" b="0" dirty="0">
                        <a:latin typeface="Arial" panose="020B0604020202020204" pitchFamily="34" charset="0"/>
                        <a:cs typeface="Arial" panose="020B0604020202020204" pitchFamily="34" charset="0"/>
                      </a:endParaRPr>
                    </a:p>
                  </a:txBody>
                  <a:tcPr anchor="ctr">
                    <a:lnT w="12700" cap="flat" cmpd="sng" algn="ctr">
                      <a:solidFill>
                        <a:schemeClr val="bg1"/>
                      </a:solidFill>
                      <a:prstDash val="solid"/>
                      <a:round/>
                      <a:headEnd type="none" w="med" len="med"/>
                      <a:tailEnd type="none" w="med" len="med"/>
                    </a:lnT>
                    <a:solidFill>
                      <a:schemeClr val="tx2">
                        <a:lumMod val="20000"/>
                        <a:lumOff val="80000"/>
                      </a:schemeClr>
                    </a:solidFill>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B w="28575" cap="flat" cmpd="sng" algn="ctr">
                      <a:solidFill>
                        <a:schemeClr val="tx1"/>
                      </a:solidFill>
                      <a:prstDash val="lgDash"/>
                      <a:round/>
                      <a:headEnd type="none" w="med" len="med"/>
                      <a:tailEnd type="none" w="med" len="med"/>
                    </a:lnB>
                    <a:solidFill>
                      <a:schemeClr val="accent1">
                        <a:lumMod val="20000"/>
                        <a:lumOff val="80000"/>
                      </a:schemeClr>
                    </a:solidFill>
                  </a:tcPr>
                </a:tc>
                <a:tc>
                  <a:txBody>
                    <a:bodyPr/>
                    <a:lstStyle/>
                    <a:p>
                      <a:pPr lvl="0">
                        <a:buNone/>
                      </a:pPr>
                      <a:r>
                        <a:rPr lang="en-US" sz="1200" u="none" strike="noStrike" noProof="0" dirty="0">
                          <a:solidFill>
                            <a:srgbClr val="000000"/>
                          </a:solidFill>
                          <a:latin typeface="Arial" panose="020B0604020202020204" pitchFamily="34" charset="0"/>
                          <a:cs typeface="Arial" panose="020B0604020202020204" pitchFamily="34" charset="0"/>
                        </a:rPr>
                        <a:t>Advanced Manufacturing and Recycling Grants R2 ($425 million)*</a:t>
                      </a:r>
                      <a:endParaRPr lang="en-US" sz="1200" dirty="0">
                        <a:latin typeface="Arial" panose="020B0604020202020204" pitchFamily="34" charset="0"/>
                        <a:cs typeface="Arial" panose="020B0604020202020204" pitchFamily="34" charset="0"/>
                      </a:endParaRPr>
                    </a:p>
                  </a:txBody>
                  <a:tcPr anchor="ctr">
                    <a:lnB w="28575" cap="flat" cmpd="sng" algn="ctr">
                      <a:solidFill>
                        <a:schemeClr val="tx1"/>
                      </a:solidFill>
                      <a:prstDash val="lgDash"/>
                      <a:round/>
                      <a:headEnd type="none" w="med" len="med"/>
                      <a:tailEnd type="none" w="med" len="med"/>
                    </a:lnB>
                    <a:solidFill>
                      <a:schemeClr val="accent1">
                        <a:lumMod val="20000"/>
                        <a:lumOff val="80000"/>
                      </a:schemeClr>
                    </a:solidFill>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a:txBody>
                    <a:bodyPr/>
                    <a:lstStyle/>
                    <a:p>
                      <a:pPr lvl="0">
                        <a:buNone/>
                      </a:pPr>
                      <a:r>
                        <a:rPr lang="en-US" sz="1200" u="none" strike="noStrike" noProof="0" dirty="0">
                          <a:solidFill>
                            <a:srgbClr val="000000"/>
                          </a:solidFill>
                          <a:latin typeface="Arial" panose="020B0604020202020204" pitchFamily="34" charset="0"/>
                          <a:cs typeface="Arial" panose="020B0604020202020204" pitchFamily="34" charset="0"/>
                        </a:rPr>
                        <a:t>Advanced Manufacturing and Recycling Grants R1 ($275 million)</a:t>
                      </a:r>
                      <a:endParaRPr lang="en-US" sz="1200" dirty="0">
                        <a:latin typeface="Arial" panose="020B0604020202020204" pitchFamily="34" charset="0"/>
                        <a:cs typeface="Arial" panose="020B0604020202020204" pitchFamily="34" charset="0"/>
                      </a:endParaRPr>
                    </a:p>
                  </a:txBody>
                  <a:tcPr anchor="ctr">
                    <a:lnT w="12700" cap="flat" cmpd="sng" algn="ctr">
                      <a:solidFill>
                        <a:schemeClr val="bg1"/>
                      </a:solidFill>
                      <a:prstDash val="solid"/>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455317212"/>
                  </a:ext>
                </a:extLst>
              </a:tr>
              <a:tr h="968744">
                <a:tc>
                  <a:txBody>
                    <a:bodyPr/>
                    <a:lstStyle/>
                    <a:p>
                      <a:pPr marL="0" lvl="0" indent="0" algn="l">
                        <a:lnSpc>
                          <a:spcPct val="100000"/>
                        </a:lnSpc>
                        <a:spcBef>
                          <a:spcPts val="0"/>
                        </a:spcBef>
                        <a:spcAft>
                          <a:spcPts val="0"/>
                        </a:spcAft>
                        <a:buNone/>
                      </a:pPr>
                      <a:endParaRPr lang="en-US" sz="1300" b="0" u="none" strike="noStrike" noProof="0">
                        <a:solidFill>
                          <a:srgbClr val="000000"/>
                        </a:solidFill>
                        <a:latin typeface="Arial" panose="020B0604020202020204" pitchFamily="34" charset="0"/>
                        <a:cs typeface="Arial" panose="020B0604020202020204" pitchFamily="34" charset="0"/>
                      </a:endParaRPr>
                    </a:p>
                  </a:txBody>
                  <a:tcPr>
                    <a:solidFill>
                      <a:schemeClr val="tx2">
                        <a:lumMod val="20000"/>
                        <a:lumOff val="80000"/>
                      </a:schemeClr>
                    </a:solidFill>
                  </a:tcPr>
                </a:tc>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0" i="0" u="none" strike="noStrike" noProof="0" dirty="0">
                          <a:solidFill>
                            <a:srgbClr val="000000"/>
                          </a:solidFill>
                          <a:latin typeface="Arial" panose="020B0604020202020204" pitchFamily="34" charset="0"/>
                          <a:cs typeface="Arial" panose="020B0604020202020204" pitchFamily="34" charset="0"/>
                        </a:rPr>
                        <a:t>Extended Product System Rebates ($10 million) </a:t>
                      </a: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solidFill>
                      <a:schemeClr val="tx2">
                        <a:lumMod val="20000"/>
                        <a:lumOff val="80000"/>
                      </a:schemeClr>
                    </a:solidFill>
                  </a:tcPr>
                </a:tc>
                <a:tc>
                  <a:txBody>
                    <a:bodyPr/>
                    <a:lstStyle/>
                    <a:p>
                      <a:pPr lvl="0">
                        <a:buNone/>
                      </a:pPr>
                      <a:endParaRPr lang="en-US" sz="1200" dirty="0">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1">
                        <a:lumMod val="20000"/>
                        <a:lumOff val="8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Smart Manufacturing &amp; Recycling Tactics for States (SMART)</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Grant Program ($63 million)</a:t>
                      </a: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1">
                        <a:lumMod val="20000"/>
                        <a:lumOff val="80000"/>
                      </a:schemeClr>
                    </a:solidFill>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a:txBody>
                    <a:bodyPr/>
                    <a:lstStyle/>
                    <a:p>
                      <a:pPr lvl="0">
                        <a:buNone/>
                      </a:pPr>
                      <a:r>
                        <a:rPr lang="en-US" sz="1200" u="none" strike="noStrike" noProof="0" dirty="0">
                          <a:solidFill>
                            <a:srgbClr val="000000"/>
                          </a:solidFill>
                          <a:latin typeface="Arial" panose="020B0604020202020204" pitchFamily="34" charset="0"/>
                          <a:cs typeface="Arial" panose="020B0604020202020204" pitchFamily="34" charset="0"/>
                        </a:rPr>
                        <a:t>Consumer Electronics Battery Recycling, Reprocessing, and Battery Collection for States &amp; Local Government ($7.2 million) &amp; Retailers ($15 million)</a:t>
                      </a: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626037048"/>
                  </a:ext>
                </a:extLst>
              </a:tr>
              <a:tr h="616474">
                <a:tc>
                  <a:txBody>
                    <a:bodyPr/>
                    <a:lstStyle/>
                    <a:p>
                      <a:pPr lvl="0">
                        <a:buNone/>
                      </a:pPr>
                      <a:endParaRPr lang="en-US" sz="1300" b="0" u="none" strike="noStrike" noProof="0" dirty="0">
                        <a:solidFill>
                          <a:srgbClr val="000000"/>
                        </a:solidFill>
                        <a:latin typeface="Arial" panose="020B0604020202020204" pitchFamily="34" charset="0"/>
                        <a:cs typeface="Arial" panose="020B0604020202020204" pitchFamily="34" charset="0"/>
                      </a:endParaRPr>
                    </a:p>
                  </a:txBody>
                  <a:tcPr>
                    <a:noFill/>
                  </a:tcPr>
                </a:tc>
                <a:tc>
                  <a:txBody>
                    <a:bodyPr/>
                    <a:lstStyle/>
                    <a:p>
                      <a:pPr lvl="0">
                        <a:buNone/>
                      </a:pPr>
                      <a:endParaRPr lang="en-US" sz="1200" dirty="0">
                        <a:latin typeface="Arial" panose="020B0604020202020204" pitchFamily="34" charset="0"/>
                        <a:cs typeface="Arial" panose="020B0604020202020204" pitchFamily="34" charset="0"/>
                      </a:endParaRPr>
                    </a:p>
                  </a:txBody>
                  <a:tcPr>
                    <a:noFill/>
                  </a:tcPr>
                </a:tc>
                <a:tc rowSpan="2">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rgbClr val="BEDFFB"/>
                    </a:solidFill>
                  </a:tcPr>
                </a:tc>
                <a:tc rowSpan="2">
                  <a:txBody>
                    <a:bodyPr/>
                    <a:lstStyle/>
                    <a:p>
                      <a:pPr marL="0" lvl="0" eaLnBrk="1" hangingPunct="1">
                        <a:buNone/>
                      </a:pPr>
                      <a:r>
                        <a:rPr lang="en-US" sz="1200" u="none" strike="noStrike" dirty="0">
                          <a:solidFill>
                            <a:srgbClr val="000000"/>
                          </a:solidFill>
                          <a:latin typeface="Arial" panose="020B0604020202020204" pitchFamily="34" charset="0"/>
                          <a:ea typeface="+mn-ea"/>
                          <a:cs typeface="Arial" panose="020B0604020202020204" pitchFamily="34" charset="0"/>
                        </a:rPr>
                        <a:t>Domestic Manufacturing Conversion </a:t>
                      </a:r>
                    </a:p>
                    <a:p>
                      <a:pPr marL="0" lvl="0" eaLnBrk="1" hangingPunct="1">
                        <a:buNone/>
                      </a:pPr>
                      <a:r>
                        <a:rPr lang="en-US" sz="1200" u="none" strike="noStrike" dirty="0">
                          <a:solidFill>
                            <a:srgbClr val="000000"/>
                          </a:solidFill>
                          <a:latin typeface="Arial" panose="020B0604020202020204" pitchFamily="34" charset="0"/>
                          <a:ea typeface="+mn-ea"/>
                          <a:cs typeface="Arial" panose="020B0604020202020204" pitchFamily="34" charset="0"/>
                        </a:rPr>
                        <a:t>Grants Program State Set Aside ($50 million)</a:t>
                      </a: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txBody>
                  <a:tcPr anchor="ct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rgbClr val="BEDFFB"/>
                    </a:solidFill>
                  </a:tcPr>
                </a:tc>
                <a:tc>
                  <a:txBody>
                    <a:bodyPr/>
                    <a:lstStyle/>
                    <a:p>
                      <a:pPr marL="0" lvl="0" indent="0" algn="l">
                        <a:lnSpc>
                          <a:spcPct val="100000"/>
                        </a:lnSpc>
                        <a:spcBef>
                          <a:spcPts val="0"/>
                        </a:spcBef>
                        <a:spcAft>
                          <a:spcPts val="0"/>
                        </a:spcAft>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a:txBody>
                    <a:bodyPr/>
                    <a:lstStyle/>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Defense Production Act – Heat Pumps Manufacturing R1 ($169 million) &amp; R2 ($63 million)* </a:t>
                      </a:r>
                      <a:endParaRPr lang="en-US" sz="1200" dirty="0">
                        <a:latin typeface="Arial" panose="020B0604020202020204" pitchFamily="34" charset="0"/>
                        <a:cs typeface="Arial" panose="020B0604020202020204" pitchFamily="34" charset="0"/>
                      </a:endParaRPr>
                    </a:p>
                  </a:txBody>
                  <a:tcPr anchor="ct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768701561"/>
                  </a:ext>
                </a:extLst>
              </a:tr>
              <a:tr h="0">
                <a:tc rowSpan="3">
                  <a:txBody>
                    <a:bodyPr/>
                    <a:lstStyle/>
                    <a:p>
                      <a:pPr lvl="0">
                        <a:buNone/>
                      </a:pPr>
                      <a:endParaRPr lang="en-US" sz="1300" b="0" u="none" strike="noStrike" noProof="0" dirty="0">
                        <a:solidFill>
                          <a:srgbClr val="000000"/>
                        </a:solidFill>
                        <a:latin typeface="Arial" panose="020B0604020202020204" pitchFamily="34" charset="0"/>
                        <a:cs typeface="Arial" panose="020B0604020202020204" pitchFamily="34" charset="0"/>
                      </a:endParaRPr>
                    </a:p>
                  </a:txBody>
                  <a:tcPr>
                    <a:noFill/>
                  </a:tcPr>
                </a:tc>
                <a:tc rowSpan="3">
                  <a:txBody>
                    <a:bodyPr/>
                    <a:lstStyle/>
                    <a:p>
                      <a:pPr lvl="0">
                        <a:buNone/>
                      </a:pPr>
                      <a:endParaRPr lang="en-US" sz="1200" b="0" u="none" strike="noStrike" noProof="0" dirty="0">
                        <a:solidFill>
                          <a:srgbClr val="000000"/>
                        </a:solidFill>
                        <a:latin typeface="Arial" panose="020B0604020202020204" pitchFamily="34" charset="0"/>
                        <a:cs typeface="Arial" panose="020B0604020202020204" pitchFamily="34" charset="0"/>
                      </a:endParaRPr>
                    </a:p>
                  </a:txBody>
                  <a:tcPr>
                    <a:noFill/>
                  </a:tcPr>
                </a:tc>
                <a:tc vMerge="1">
                  <a:txBody>
                    <a:bodyPr/>
                    <a:lstStyle/>
                    <a:p>
                      <a:pPr lvl="0">
                        <a:buNone/>
                      </a:pPr>
                      <a:endParaRPr lang="en-US" sz="1200" u="none" strike="noStrike" noProof="0" dirty="0">
                        <a:solidFill>
                          <a:srgbClr val="000000"/>
                        </a:solidFill>
                      </a:endParaRPr>
                    </a:p>
                  </a:txBody>
                  <a:tcPr>
                    <a:solidFill>
                      <a:schemeClr val="accent2">
                        <a:lumMod val="40000"/>
                        <a:lumOff val="60000"/>
                      </a:schemeClr>
                    </a:solidFill>
                  </a:tcPr>
                </a:tc>
                <a:tc vMerge="1">
                  <a:txBody>
                    <a:bodyPr/>
                    <a:lstStyle/>
                    <a:p>
                      <a:pPr lvl="0">
                        <a:buNone/>
                      </a:pPr>
                      <a:endParaRPr lang="en-US" sz="1200" dirty="0"/>
                    </a:p>
                  </a:txBody>
                  <a:tcPr>
                    <a:solidFill>
                      <a:schemeClr val="accent2">
                        <a:lumMod val="40000"/>
                        <a:lumOff val="60000"/>
                      </a:schemeClr>
                    </a:solidFill>
                  </a:tcPr>
                </a:tc>
                <a:tc rowSpan="2">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rowSpan="2">
                  <a:txBody>
                    <a:bodyPr/>
                    <a:lstStyle/>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Domestic Manufacturing Conversion </a:t>
                      </a:r>
                    </a:p>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Grants Program ($2 billion)*</a:t>
                      </a: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37766731"/>
                  </a:ext>
                </a:extLst>
              </a:tr>
              <a:tr h="329832">
                <a:tc vMerge="1">
                  <a:txBody>
                    <a:bodyPr/>
                    <a:lstStyle/>
                    <a:p>
                      <a:endParaRPr lang="en-US"/>
                    </a:p>
                  </a:txBody>
                  <a:tcPr/>
                </a:tc>
                <a:tc vMerge="1">
                  <a:txBody>
                    <a:bodyPr/>
                    <a:lstStyle/>
                    <a:p>
                      <a:endParaRPr lang="en-US"/>
                    </a:p>
                  </a:txBody>
                  <a:tcPr/>
                </a:tc>
                <a:tc rowSpan="3">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rgbClr val="BEDFFB"/>
                    </a:solidFill>
                  </a:tcPr>
                </a:tc>
                <a:tc rowSpan="3">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u="none" strike="noStrike" dirty="0">
                          <a:solidFill>
                            <a:srgbClr val="000000"/>
                          </a:solidFill>
                          <a:latin typeface="Arial" panose="020B0604020202020204" pitchFamily="34" charset="0"/>
                          <a:ea typeface="+mn-ea"/>
                          <a:cs typeface="Arial" panose="020B0604020202020204" pitchFamily="34" charset="0"/>
                        </a:rPr>
                        <a:t>48C Tax Credits R2 ($6 billion)*</a:t>
                      </a: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rgbClr val="BEDFFB"/>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0028064"/>
                  </a:ext>
                </a:extLst>
              </a:tr>
              <a:tr h="330675">
                <a:tc vMerge="1">
                  <a:txBody>
                    <a:bodyPr/>
                    <a:lstStyle/>
                    <a:p>
                      <a:pPr lvl="0">
                        <a:buNone/>
                      </a:pPr>
                      <a:endParaRPr lang="en-US" sz="1300" b="0" u="none" strike="noStrike" noProof="0" dirty="0">
                        <a:solidFill>
                          <a:srgbClr val="000000"/>
                        </a:solidFill>
                        <a:latin typeface="Arial" panose="020B0604020202020204" pitchFamily="34" charset="0"/>
                        <a:cs typeface="Arial" panose="020B0604020202020204" pitchFamily="34" charset="0"/>
                      </a:endParaRPr>
                    </a:p>
                  </a:txBody>
                  <a:tcPr>
                    <a:noFill/>
                  </a:tcPr>
                </a:tc>
                <a:tc vMerge="1">
                  <a:txBody>
                    <a:bodyPr/>
                    <a:lstStyle/>
                    <a:p>
                      <a:pPr lvl="0">
                        <a:buNone/>
                      </a:pPr>
                      <a:endParaRPr lang="en-US" sz="1200" b="0" u="none" strike="noStrike" noProof="0" dirty="0">
                        <a:solidFill>
                          <a:srgbClr val="000000"/>
                        </a:solidFill>
                        <a:latin typeface="Arial" panose="020B0604020202020204" pitchFamily="34" charset="0"/>
                        <a:cs typeface="Arial" panose="020B0604020202020204" pitchFamily="34" charset="0"/>
                      </a:endParaRPr>
                    </a:p>
                  </a:txBody>
                  <a:tcPr>
                    <a:lnR w="28575" cap="flat" cmpd="sng" algn="ctr">
                      <a:solidFill>
                        <a:srgbClr val="FF0000"/>
                      </a:solidFill>
                      <a:prstDash val="solid"/>
                      <a:round/>
                      <a:headEnd type="none" w="med" len="med"/>
                      <a:tailEnd type="none" w="med" len="med"/>
                    </a:lnR>
                    <a:noFill/>
                  </a:tcPr>
                </a:tc>
                <a:tc vMerge="1">
                  <a:txBody>
                    <a:bodyPr/>
                    <a:lstStyle/>
                    <a:p>
                      <a:endParaRPr lang="en-US"/>
                    </a:p>
                  </a:txBody>
                  <a:tcPr/>
                </a:tc>
                <a:tc vMerge="1">
                  <a:txBody>
                    <a:bodyPr/>
                    <a:lstStyle/>
                    <a:p>
                      <a:endParaRPr lang="en-US"/>
                    </a:p>
                  </a:txBody>
                  <a:tcPr/>
                </a:tc>
                <a:tc rowSpan="3">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rowSpan="3">
                  <a:txBody>
                    <a:bodyPr/>
                    <a:lstStyle/>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IAC Clean Energy </a:t>
                      </a:r>
                      <a:endParaRPr lang="en-US" sz="1200" dirty="0">
                        <a:latin typeface="Arial" panose="020B0604020202020204" pitchFamily="34" charset="0"/>
                        <a:cs typeface="Arial" panose="020B0604020202020204" pitchFamily="34" charset="0"/>
                      </a:endParaRPr>
                    </a:p>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Manufacturing Workforce Training and Technical Assistance Awards R1($32 million) &amp; R2 ($24 million) </a:t>
                      </a: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213301142"/>
                  </a:ext>
                </a:extLst>
              </a:tr>
              <a:tr h="88068">
                <a:tc rowSpan="3" gridSpan="2">
                  <a:txBody>
                    <a:bodyPr/>
                    <a:lstStyle/>
                    <a:p>
                      <a:pPr lvl="0">
                        <a:buNone/>
                      </a:pPr>
                      <a:r>
                        <a:rPr lang="en-US" sz="900" b="0" i="1" u="none" strike="noStrike" noProof="0" dirty="0">
                          <a:solidFill>
                            <a:srgbClr val="000000"/>
                          </a:solidFill>
                          <a:latin typeface="Arial" panose="020B0604020202020204" pitchFamily="34" charset="0"/>
                          <a:cs typeface="Arial" panose="020B0604020202020204" pitchFamily="34" charset="0"/>
                        </a:rPr>
                        <a:t>* prior submission of a concept paper required for to submit a full application</a:t>
                      </a:r>
                      <a:endParaRPr lang="en-US" dirty="0">
                        <a:latin typeface="Arial" panose="020B0604020202020204" pitchFamily="34" charset="0"/>
                        <a:cs typeface="Arial" panose="020B0604020202020204" pitchFamily="34" charset="0"/>
                      </a:endParaRPr>
                    </a:p>
                  </a:txBody>
                  <a:tcPr>
                    <a:lnR w="28575" cap="flat" cmpd="sng" algn="ctr">
                      <a:solidFill>
                        <a:schemeClr val="tx1"/>
                      </a:solidFill>
                      <a:prstDash val="lgDash"/>
                      <a:round/>
                      <a:headEnd type="none" w="med" len="med"/>
                      <a:tailEnd type="none" w="med" len="med"/>
                    </a:lnR>
                    <a:solidFill>
                      <a:schemeClr val="bg1"/>
                    </a:solidFill>
                  </a:tcPr>
                </a:tc>
                <a:tc rowSpan="3" hMerge="1">
                  <a:txBody>
                    <a:bodyPr/>
                    <a:lstStyle/>
                    <a:p>
                      <a:endParaRPr/>
                    </a:p>
                  </a:txBody>
                  <a:tcPr>
                    <a:lnB w="12700" cmpd="sng">
                      <a:noFill/>
                    </a:lnB>
                    <a:solidFill>
                      <a:schemeClr val="bg2">
                        <a:lumMod val="75000"/>
                      </a:schemeClr>
                    </a:solidFill>
                  </a:tcPr>
                </a:tc>
                <a:tc vMerge="1">
                  <a:txBody>
                    <a:bodyPr/>
                    <a:lstStyle/>
                    <a:p>
                      <a:pPr marL="0" lvl="0" indent="0" algn="l">
                        <a:lnSpc>
                          <a:spcPct val="100000"/>
                        </a:lnSpc>
                        <a:spcBef>
                          <a:spcPts val="0"/>
                        </a:spcBef>
                        <a:spcAft>
                          <a:spcPts val="0"/>
                        </a:spcAft>
                        <a:buNone/>
                      </a:pPr>
                      <a:endParaRPr lang="en-US" sz="1200" u="none" strike="noStrike" noProof="0" dirty="0">
                        <a:solidFill>
                          <a:srgbClr val="000000"/>
                        </a:solidFill>
                      </a:endParaRPr>
                    </a:p>
                  </a:txBody>
                  <a:tcPr>
                    <a:solidFill>
                      <a:schemeClr val="accent2">
                        <a:lumMod val="40000"/>
                        <a:lumOff val="60000"/>
                      </a:schemeClr>
                    </a:solidFill>
                  </a:tcPr>
                </a:tc>
                <a:tc vMerge="1">
                  <a:txBody>
                    <a:bodyPr/>
                    <a:lstStyle/>
                    <a:p>
                      <a:pPr marL="0" marR="0" lvl="0" indent="0" algn="l">
                        <a:lnSpc>
                          <a:spcPct val="100000"/>
                        </a:lnSpc>
                        <a:spcBef>
                          <a:spcPts val="0"/>
                        </a:spcBef>
                        <a:spcAft>
                          <a:spcPts val="0"/>
                        </a:spcAft>
                        <a:buNone/>
                      </a:pPr>
                      <a:endParaRPr lang="en-US" sz="1200" dirty="0"/>
                    </a:p>
                  </a:txBody>
                  <a:tcPr>
                    <a:solidFill>
                      <a:schemeClr val="accent2">
                        <a:lumMod val="40000"/>
                        <a:lumOff val="60000"/>
                      </a:schemeClr>
                    </a:solidFill>
                  </a:tcPr>
                </a:tc>
                <a:tc vMerge="1">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rgbClr val="FF0000"/>
                      </a:solidFill>
                      <a:prstDash val="solid"/>
                      <a:round/>
                      <a:headEnd type="none" w="med" len="med"/>
                      <a:tailEnd type="none" w="med" len="med"/>
                    </a:lnL>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accent4">
                        <a:lumMod val="20000"/>
                        <a:lumOff val="80000"/>
                      </a:schemeClr>
                    </a:solidFill>
                  </a:tcPr>
                </a:tc>
                <a:tc vMerge="1">
                  <a:txBody>
                    <a:bodyPr/>
                    <a:lstStyle/>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IAC Clean Energy </a:t>
                      </a:r>
                      <a:endParaRPr lang="en-US" sz="1200" dirty="0">
                        <a:latin typeface="Arial" panose="020B0604020202020204" pitchFamily="34" charset="0"/>
                        <a:cs typeface="Arial" panose="020B0604020202020204" pitchFamily="34" charset="0"/>
                      </a:endParaRPr>
                    </a:p>
                    <a:p>
                      <a:pPr marL="0" marR="0" lvl="0" indent="0" algn="l">
                        <a:lnSpc>
                          <a:spcPct val="100000"/>
                        </a:lnSpc>
                        <a:spcBef>
                          <a:spcPts val="0"/>
                        </a:spcBef>
                        <a:spcAft>
                          <a:spcPts val="0"/>
                        </a:spcAft>
                        <a:buNone/>
                      </a:pPr>
                      <a:r>
                        <a:rPr lang="en-US" sz="1200" u="none" strike="noStrike" noProof="0" dirty="0">
                          <a:solidFill>
                            <a:srgbClr val="000000"/>
                          </a:solidFill>
                          <a:latin typeface="Arial" panose="020B0604020202020204" pitchFamily="34" charset="0"/>
                          <a:cs typeface="Arial" panose="020B0604020202020204" pitchFamily="34" charset="0"/>
                        </a:rPr>
                        <a:t>Manufacturing Workforce Training and Technical Assistance Awards R1($32 million) &amp; R2 ($24 million) </a:t>
                      </a:r>
                      <a:endParaRPr lang="en-US" sz="1200" dirty="0">
                        <a:latin typeface="Arial" panose="020B0604020202020204" pitchFamily="34" charset="0"/>
                        <a:cs typeface="Arial" panose="020B0604020202020204" pitchFamily="34" charset="0"/>
                      </a:endParaRPr>
                    </a:p>
                  </a:txBody>
                  <a:tcPr anchor="ct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718207667"/>
                  </a:ext>
                </a:extLst>
              </a:tr>
              <a:tr h="613991">
                <a:tc gridSpan="2" vMerge="1">
                  <a:txBody>
                    <a:bodyPr/>
                    <a:lstStyle/>
                    <a:p>
                      <a:endParaRPr lang="en-US"/>
                    </a:p>
                  </a:txBody>
                  <a:tcPr/>
                </a:tc>
                <a:tc hMerge="1" vMerge="1">
                  <a:txBody>
                    <a:bodyPr/>
                    <a:lstStyle/>
                    <a:p>
                      <a:endParaRPr lang="en-US"/>
                    </a:p>
                  </a:txBody>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noFill/>
                      <a:prstDash val="solid"/>
                      <a:round/>
                      <a:headEnd type="none" w="med" len="med"/>
                      <a:tailEnd type="none" w="med" len="med"/>
                    </a:lnL>
                    <a:lnR w="12700" cmpd="sng">
                      <a:noFill/>
                    </a:lnR>
                    <a:lnT w="28575" cap="flat" cmpd="sng" algn="ctr">
                      <a:solidFill>
                        <a:schemeClr val="tx1"/>
                      </a:solidFill>
                      <a:prstDash val="lgDash"/>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eaLnBrk="1" hangingPunct="1">
                        <a:buNone/>
                      </a:pPr>
                      <a:endParaRPr lang="en-US" sz="1200" u="none" strike="noStrike" dirty="0">
                        <a:solidFill>
                          <a:srgbClr val="000000"/>
                        </a:solidFill>
                        <a:latin typeface="Arial" panose="020B0604020202020204" pitchFamily="34" charset="0"/>
                        <a:ea typeface="+mn-ea"/>
                        <a:cs typeface="Arial" panose="020B0604020202020204" pitchFamily="34" charset="0"/>
                      </a:endParaRPr>
                    </a:p>
                  </a:txBody>
                  <a:tcPr anchor="ctr">
                    <a:lnL w="12700" cmpd="sng">
                      <a:noFill/>
                    </a:lnL>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84751256"/>
                  </a:ext>
                </a:extLst>
              </a:tr>
              <a:tr h="609124">
                <a:tc gridSpan="2" vMerge="1">
                  <a:txBody>
                    <a:bodyPr/>
                    <a:lstStyle/>
                    <a:p>
                      <a:pPr lvl="0">
                        <a:buNone/>
                      </a:pPr>
                      <a:endParaRPr lang="en-US" dirty="0"/>
                    </a:p>
                  </a:txBody>
                  <a:tcPr>
                    <a:lnB w="12700" cmpd="sng">
                      <a:noFill/>
                    </a:lnB>
                    <a:solidFill>
                      <a:schemeClr val="bg2">
                        <a:lumMod val="75000"/>
                      </a:schemeClr>
                    </a:solidFill>
                  </a:tcPr>
                </a:tc>
                <a:tc hMerge="1" vMerge="1">
                  <a:txBody>
                    <a:bodyPr/>
                    <a:lstStyle/>
                    <a:p>
                      <a:pPr lvl="0">
                        <a:buNone/>
                      </a:pPr>
                      <a:endParaRPr lang="en-US" dirty="0"/>
                    </a:p>
                  </a:txBody>
                  <a:tcPr>
                    <a:lnT w="12700" cmpd="sng">
                      <a:noFill/>
                    </a:lnT>
                    <a:lnB w="12700" cmpd="sng">
                      <a:noFill/>
                    </a:lnB>
                    <a:solidFill>
                      <a:schemeClr val="bg2">
                        <a:lumMod val="75000"/>
                      </a:schemeClr>
                    </a:solidFill>
                  </a:tcPr>
                </a:tc>
                <a:tc>
                  <a:txBody>
                    <a:bodyPr/>
                    <a:lstStyle/>
                    <a:p>
                      <a:pPr marL="0" lvl="0" indent="0" algn="l">
                        <a:lnSpc>
                          <a:spcPct val="100000"/>
                        </a:lnSpc>
                        <a:spcBef>
                          <a:spcPts val="0"/>
                        </a:spcBef>
                        <a:spcAft>
                          <a:spcPts val="0"/>
                        </a:spcAft>
                        <a:buNone/>
                      </a:pPr>
                      <a:endParaRPr lang="en-US" sz="1200" u="none" strike="noStrike" noProof="0" dirty="0">
                        <a:solidFill>
                          <a:srgbClr val="000000"/>
                        </a:solidFill>
                      </a:endParaRPr>
                    </a:p>
                  </a:txBody>
                  <a:tcPr>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endParaRPr lang="en-US" sz="1200" dirty="0"/>
                    </a:p>
                  </a:txBody>
                  <a:tcPr>
                    <a:lnL w="12700" cmpd="sng">
                      <a:noFill/>
                    </a:lnL>
                    <a:lnR w="28575" cap="flat" cmpd="sng" algn="ctr">
                      <a:solidFill>
                        <a:schemeClr val="tx1"/>
                      </a:solidFill>
                      <a:prstDash val="lgDash"/>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u="none" strike="noStrike" noProof="0" dirty="0">
                          <a:solidFill>
                            <a:srgbClr val="000000"/>
                          </a:solidFill>
                          <a:latin typeface="Arial" panose="020B0604020202020204" pitchFamily="34" charset="0"/>
                          <a:cs typeface="Arial" panose="020B0604020202020204" pitchFamily="34" charset="0"/>
                        </a:rPr>
                        <a:t>State Manufacturing Leadership Program ($22 million)</a:t>
                      </a: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880935944"/>
                  </a:ext>
                </a:extLst>
              </a:tr>
              <a:tr h="792609">
                <a:tc gridSpan="2">
                  <a:txBody>
                    <a:bodyPr/>
                    <a:lstStyle/>
                    <a:p>
                      <a:pPr lvl="0">
                        <a:buNone/>
                      </a:pPr>
                      <a:endParaRPr lang="en-US" dirty="0">
                        <a:latin typeface="Arial" panose="020B0604020202020204" pitchFamily="34" charset="0"/>
                        <a:cs typeface="Arial" panose="020B0604020202020204" pitchFamily="34" charset="0"/>
                      </a:endParaRPr>
                    </a:p>
                  </a:txBody>
                  <a:tcPr>
                    <a:lnB w="12700" cmpd="sng">
                      <a:noFill/>
                    </a:lnB>
                    <a:solidFill>
                      <a:schemeClr val="bg1"/>
                    </a:solidFill>
                  </a:tcPr>
                </a:tc>
                <a:tc hMerge="1">
                  <a:txBody>
                    <a:bodyPr/>
                    <a:lstStyle/>
                    <a:p>
                      <a:endParaRPr lang="en-US"/>
                    </a:p>
                  </a:txBody>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T w="28575" cap="flat" cmpd="sng" algn="ctr">
                      <a:noFill/>
                      <a:prstDash val="solid"/>
                      <a:round/>
                      <a:headEnd type="none" w="med" len="med"/>
                      <a:tailEnd type="none" w="med" len="med"/>
                    </a:lnT>
                    <a:noFill/>
                  </a:tcPr>
                </a:tc>
                <a:tc>
                  <a:txBody>
                    <a:bodyPr/>
                    <a:lstStyle/>
                    <a:p>
                      <a:endParaRPr lang="en-US" dirty="0"/>
                    </a:p>
                  </a:txBody>
                  <a:tcPr>
                    <a:lnR w="28575" cap="flat" cmpd="sng" algn="ctr">
                      <a:solidFill>
                        <a:schemeClr val="tx1"/>
                      </a:solidFill>
                      <a:prstDash val="lgDash"/>
                      <a:round/>
                      <a:headEnd type="none" w="med" len="med"/>
                      <a:tailEnd type="none" w="med" len="med"/>
                    </a:lnR>
                    <a:lnT w="28575" cap="flat" cmpd="sng" algn="ctr">
                      <a:noFill/>
                      <a:prstDash val="solid"/>
                      <a:round/>
                      <a:headEnd type="none" w="med" len="med"/>
                      <a:tailEnd type="none" w="med" len="med"/>
                    </a:lnT>
                    <a:noFill/>
                  </a:tcPr>
                </a:tc>
                <a:tc>
                  <a:txBody>
                    <a:bodyPr/>
                    <a:lstStyle/>
                    <a:p>
                      <a:pPr lvl="0">
                        <a:buNone/>
                      </a:pPr>
                      <a:endParaRPr lang="en-US" sz="1200" u="none" strike="noStrike" noProof="0" dirty="0">
                        <a:solidFill>
                          <a:srgbClr val="000000"/>
                        </a:solidFill>
                        <a:latin typeface="Arial" panose="020B0604020202020204" pitchFamily="34" charset="0"/>
                        <a:cs typeface="Arial" panose="020B0604020202020204" pitchFamily="34" charset="0"/>
                      </a:endParaRPr>
                    </a:p>
                  </a:txBody>
                  <a:tcPr>
                    <a:lnL w="28575" cap="flat" cmpd="sng" algn="ctr">
                      <a:solidFill>
                        <a:schemeClr val="tx1"/>
                      </a:solidFill>
                      <a:prstDash val="lgDash"/>
                      <a:round/>
                      <a:headEnd type="none" w="med" len="med"/>
                      <a:tailEnd type="none" w="med" len="med"/>
                    </a:lnL>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tc>
                  <a:txBody>
                    <a:bodyPr/>
                    <a:lstStyle/>
                    <a:p>
                      <a:pPr lvl="0">
                        <a:buNone/>
                      </a:pPr>
                      <a:r>
                        <a:rPr lang="en-US" sz="1200" b="0" i="0" u="none" strike="noStrike" noProof="0" dirty="0">
                          <a:solidFill>
                            <a:srgbClr val="000000"/>
                          </a:solidFill>
                          <a:latin typeface="Arial" panose="020B0604020202020204" pitchFamily="34" charset="0"/>
                          <a:cs typeface="Arial" panose="020B0604020202020204" pitchFamily="34" charset="0"/>
                        </a:rPr>
                        <a:t>Battery Material Processing and Battery </a:t>
                      </a:r>
                      <a:endParaRPr lang="en-US" sz="1200" dirty="0">
                        <a:latin typeface="Arial" panose="020B0604020202020204" pitchFamily="34" charset="0"/>
                        <a:cs typeface="Arial" panose="020B0604020202020204" pitchFamily="34" charset="0"/>
                      </a:endParaRPr>
                    </a:p>
                    <a:p>
                      <a:pPr lvl="0">
                        <a:buNone/>
                      </a:pPr>
                      <a:r>
                        <a:rPr lang="en-US" sz="1200" b="0" i="0" u="none" strike="noStrike" noProof="0" dirty="0">
                          <a:solidFill>
                            <a:srgbClr val="000000"/>
                          </a:solidFill>
                          <a:latin typeface="Arial" panose="020B0604020202020204" pitchFamily="34" charset="0"/>
                          <a:cs typeface="Arial" panose="020B0604020202020204" pitchFamily="34" charset="0"/>
                        </a:rPr>
                        <a:t>Manufacturing Grants ($3.5 billion)</a:t>
                      </a:r>
                      <a:endParaRPr lang="en-US" sz="1200" dirty="0">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200" dirty="0">
                        <a:latin typeface="Arial" panose="020B0604020202020204" pitchFamily="34" charset="0"/>
                        <a:cs typeface="Arial" panose="020B0604020202020204" pitchFamily="34" charset="0"/>
                      </a:endParaRPr>
                    </a:p>
                  </a:txBody>
                  <a:tcPr anchor="ctr">
                    <a:lnR w="28575" cap="flat" cmpd="sng" algn="ctr">
                      <a:solidFill>
                        <a:schemeClr val="tx1"/>
                      </a:solidFill>
                      <a:prstDash val="lgDash"/>
                      <a:round/>
                      <a:headEnd type="none" w="med" len="med"/>
                      <a:tailEnd type="none" w="med" len="med"/>
                    </a:lnR>
                    <a:lnT w="28575" cap="flat" cmpd="sng" algn="ctr">
                      <a:solidFill>
                        <a:schemeClr val="tx1"/>
                      </a:solidFill>
                      <a:prstDash val="lgDash"/>
                      <a:round/>
                      <a:headEnd type="none" w="med" len="med"/>
                      <a:tailEnd type="none" w="med" len="med"/>
                    </a:lnT>
                    <a:lnB w="28575" cap="flat" cmpd="sng" algn="ctr">
                      <a:solidFill>
                        <a:schemeClr val="tx1"/>
                      </a:solidFill>
                      <a:prstDash val="lgDash"/>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860356354"/>
                  </a:ext>
                </a:extLst>
              </a:tr>
            </a:tbl>
          </a:graphicData>
        </a:graphic>
      </p:graphicFrame>
      <p:sp>
        <p:nvSpPr>
          <p:cNvPr id="8" name="Freeform 1480">
            <a:extLst>
              <a:ext uri="{FF2B5EF4-FFF2-40B4-BE49-F238E27FC236}">
                <a16:creationId xmlns:a16="http://schemas.microsoft.com/office/drawing/2014/main" id="{17F6717A-AAF3-B93C-3546-C6FB1497D84E}"/>
              </a:ext>
            </a:extLst>
          </p:cNvPr>
          <p:cNvSpPr/>
          <p:nvPr/>
        </p:nvSpPr>
        <p:spPr>
          <a:xfrm>
            <a:off x="609688" y="1200622"/>
            <a:ext cx="543939" cy="441544"/>
          </a:xfrm>
          <a:custGeom>
            <a:avLst/>
            <a:gdLst>
              <a:gd name="connsiteX0" fmla="*/ 806 w 295326"/>
              <a:gd name="connsiteY0" fmla="*/ 216358 h 294118"/>
              <a:gd name="connsiteX1" fmla="*/ 93070 w 295326"/>
              <a:gd name="connsiteY1" fmla="*/ 216358 h 294118"/>
              <a:gd name="connsiteX2" fmla="*/ 93070 w 295326"/>
              <a:gd name="connsiteY2" fmla="*/ 149074 h 294118"/>
              <a:gd name="connsiteX3" fmla="*/ 119259 w 295326"/>
              <a:gd name="connsiteY3" fmla="*/ 149074 h 294118"/>
              <a:gd name="connsiteX4" fmla="*/ 124094 w 295326"/>
              <a:gd name="connsiteY4" fmla="*/ 18534 h 294118"/>
              <a:gd name="connsiteX5" fmla="*/ 152297 w 295326"/>
              <a:gd name="connsiteY5" fmla="*/ 18534 h 294118"/>
              <a:gd name="connsiteX6" fmla="*/ 157132 w 295326"/>
              <a:gd name="connsiteY6" fmla="*/ 149074 h 294118"/>
              <a:gd name="connsiteX7" fmla="*/ 183320 w 295326"/>
              <a:gd name="connsiteY7" fmla="*/ 149074 h 294118"/>
              <a:gd name="connsiteX8" fmla="*/ 183320 w 295326"/>
              <a:gd name="connsiteY8" fmla="*/ 106769 h 294118"/>
              <a:gd name="connsiteX9" fmla="*/ 204271 w 295326"/>
              <a:gd name="connsiteY9" fmla="*/ 106769 h 294118"/>
              <a:gd name="connsiteX10" fmla="*/ 209106 w 295326"/>
              <a:gd name="connsiteY10" fmla="*/ 0 h 294118"/>
              <a:gd name="connsiteX11" fmla="*/ 236100 w 295326"/>
              <a:gd name="connsiteY11" fmla="*/ 0 h 294118"/>
              <a:gd name="connsiteX12" fmla="*/ 240935 w 295326"/>
              <a:gd name="connsiteY12" fmla="*/ 106769 h 294118"/>
              <a:gd name="connsiteX13" fmla="*/ 263498 w 295326"/>
              <a:gd name="connsiteY13" fmla="*/ 106769 h 294118"/>
              <a:gd name="connsiteX14" fmla="*/ 263498 w 295326"/>
              <a:gd name="connsiteY14" fmla="*/ 149074 h 294118"/>
              <a:gd name="connsiteX15" fmla="*/ 280823 w 295326"/>
              <a:gd name="connsiteY15" fmla="*/ 149074 h 294118"/>
              <a:gd name="connsiteX16" fmla="*/ 280823 w 295326"/>
              <a:gd name="connsiteY16" fmla="*/ 216358 h 294118"/>
              <a:gd name="connsiteX17" fmla="*/ 295327 w 295326"/>
              <a:gd name="connsiteY17" fmla="*/ 216358 h 294118"/>
              <a:gd name="connsiteX18" fmla="*/ 295327 w 295326"/>
              <a:gd name="connsiteY18" fmla="*/ 294118 h 294118"/>
              <a:gd name="connsiteX19" fmla="*/ 0 w 295326"/>
              <a:gd name="connsiteY19" fmla="*/ 294118 h 294118"/>
              <a:gd name="connsiteX20" fmla="*/ 806 w 295326"/>
              <a:gd name="connsiteY20" fmla="*/ 216358 h 294118"/>
              <a:gd name="connsiteX21" fmla="*/ 806 w 295326"/>
              <a:gd name="connsiteY21" fmla="*/ 216358 h 294118"/>
              <a:gd name="connsiteX22" fmla="*/ 123691 w 295326"/>
              <a:gd name="connsiteY22" fmla="*/ 176471 h 294118"/>
              <a:gd name="connsiteX23" fmla="*/ 141016 w 295326"/>
              <a:gd name="connsiteY23" fmla="*/ 176471 h 294118"/>
              <a:gd name="connsiteX24" fmla="*/ 141016 w 295326"/>
              <a:gd name="connsiteY24" fmla="*/ 193796 h 294118"/>
              <a:gd name="connsiteX25" fmla="*/ 123691 w 295326"/>
              <a:gd name="connsiteY25" fmla="*/ 193796 h 294118"/>
              <a:gd name="connsiteX26" fmla="*/ 123691 w 295326"/>
              <a:gd name="connsiteY26" fmla="*/ 176471 h 294118"/>
              <a:gd name="connsiteX27" fmla="*/ 123691 w 295326"/>
              <a:gd name="connsiteY27" fmla="*/ 176471 h 294118"/>
              <a:gd name="connsiteX28" fmla="*/ 153103 w 295326"/>
              <a:gd name="connsiteY28" fmla="*/ 176471 h 294118"/>
              <a:gd name="connsiteX29" fmla="*/ 170427 w 295326"/>
              <a:gd name="connsiteY29" fmla="*/ 176471 h 294118"/>
              <a:gd name="connsiteX30" fmla="*/ 170427 w 295326"/>
              <a:gd name="connsiteY30" fmla="*/ 193796 h 294118"/>
              <a:gd name="connsiteX31" fmla="*/ 153103 w 295326"/>
              <a:gd name="connsiteY31" fmla="*/ 193796 h 294118"/>
              <a:gd name="connsiteX32" fmla="*/ 153103 w 295326"/>
              <a:gd name="connsiteY32" fmla="*/ 176471 h 294118"/>
              <a:gd name="connsiteX33" fmla="*/ 153103 w 295326"/>
              <a:gd name="connsiteY33" fmla="*/ 176471 h 294118"/>
              <a:gd name="connsiteX34" fmla="*/ 181709 w 295326"/>
              <a:gd name="connsiteY34" fmla="*/ 176471 h 294118"/>
              <a:gd name="connsiteX35" fmla="*/ 199033 w 295326"/>
              <a:gd name="connsiteY35" fmla="*/ 176471 h 294118"/>
              <a:gd name="connsiteX36" fmla="*/ 199033 w 295326"/>
              <a:gd name="connsiteY36" fmla="*/ 193796 h 294118"/>
              <a:gd name="connsiteX37" fmla="*/ 181709 w 295326"/>
              <a:gd name="connsiteY37" fmla="*/ 193796 h 294118"/>
              <a:gd name="connsiteX38" fmla="*/ 181709 w 295326"/>
              <a:gd name="connsiteY38" fmla="*/ 176471 h 294118"/>
              <a:gd name="connsiteX39" fmla="*/ 181709 w 295326"/>
              <a:gd name="connsiteY39" fmla="*/ 176471 h 294118"/>
              <a:gd name="connsiteX40" fmla="*/ 238518 w 295326"/>
              <a:gd name="connsiteY40" fmla="*/ 176471 h 294118"/>
              <a:gd name="connsiteX41" fmla="*/ 255843 w 295326"/>
              <a:gd name="connsiteY41" fmla="*/ 176471 h 294118"/>
              <a:gd name="connsiteX42" fmla="*/ 255843 w 295326"/>
              <a:gd name="connsiteY42" fmla="*/ 193796 h 294118"/>
              <a:gd name="connsiteX43" fmla="*/ 238518 w 295326"/>
              <a:gd name="connsiteY43" fmla="*/ 193796 h 294118"/>
              <a:gd name="connsiteX44" fmla="*/ 238518 w 295326"/>
              <a:gd name="connsiteY44" fmla="*/ 176471 h 294118"/>
              <a:gd name="connsiteX45" fmla="*/ 238518 w 295326"/>
              <a:gd name="connsiteY45" fmla="*/ 176471 h 294118"/>
              <a:gd name="connsiteX46" fmla="*/ 209106 w 295326"/>
              <a:gd name="connsiteY46" fmla="*/ 176471 h 294118"/>
              <a:gd name="connsiteX47" fmla="*/ 226431 w 295326"/>
              <a:gd name="connsiteY47" fmla="*/ 176471 h 294118"/>
              <a:gd name="connsiteX48" fmla="*/ 226431 w 295326"/>
              <a:gd name="connsiteY48" fmla="*/ 193796 h 294118"/>
              <a:gd name="connsiteX49" fmla="*/ 209106 w 295326"/>
              <a:gd name="connsiteY49" fmla="*/ 193796 h 294118"/>
              <a:gd name="connsiteX50" fmla="*/ 209106 w 295326"/>
              <a:gd name="connsiteY50" fmla="*/ 176471 h 294118"/>
              <a:gd name="connsiteX51" fmla="*/ 209106 w 295326"/>
              <a:gd name="connsiteY51" fmla="*/ 176471 h 294118"/>
              <a:gd name="connsiteX52" fmla="*/ 28606 w 295326"/>
              <a:gd name="connsiteY52" fmla="*/ 244158 h 294118"/>
              <a:gd name="connsiteX53" fmla="*/ 53586 w 295326"/>
              <a:gd name="connsiteY53" fmla="*/ 244158 h 294118"/>
              <a:gd name="connsiteX54" fmla="*/ 53586 w 295326"/>
              <a:gd name="connsiteY54" fmla="*/ 269138 h 294118"/>
              <a:gd name="connsiteX55" fmla="*/ 28606 w 295326"/>
              <a:gd name="connsiteY55" fmla="*/ 269138 h 294118"/>
              <a:gd name="connsiteX56" fmla="*/ 28606 w 295326"/>
              <a:gd name="connsiteY56" fmla="*/ 244158 h 294118"/>
              <a:gd name="connsiteX57" fmla="*/ 28606 w 295326"/>
              <a:gd name="connsiteY57" fmla="*/ 244158 h 294118"/>
              <a:gd name="connsiteX58" fmla="*/ 70911 w 295326"/>
              <a:gd name="connsiteY58" fmla="*/ 244158 h 294118"/>
              <a:gd name="connsiteX59" fmla="*/ 95891 w 295326"/>
              <a:gd name="connsiteY59" fmla="*/ 244158 h 294118"/>
              <a:gd name="connsiteX60" fmla="*/ 95891 w 295326"/>
              <a:gd name="connsiteY60" fmla="*/ 269138 h 294118"/>
              <a:gd name="connsiteX61" fmla="*/ 70911 w 295326"/>
              <a:gd name="connsiteY61" fmla="*/ 269138 h 294118"/>
              <a:gd name="connsiteX62" fmla="*/ 70911 w 295326"/>
              <a:gd name="connsiteY62" fmla="*/ 244158 h 294118"/>
              <a:gd name="connsiteX63" fmla="*/ 70911 w 295326"/>
              <a:gd name="connsiteY63" fmla="*/ 244158 h 294118"/>
              <a:gd name="connsiteX64" fmla="*/ 112410 w 295326"/>
              <a:gd name="connsiteY64" fmla="*/ 244158 h 294118"/>
              <a:gd name="connsiteX65" fmla="*/ 137390 w 295326"/>
              <a:gd name="connsiteY65" fmla="*/ 244158 h 294118"/>
              <a:gd name="connsiteX66" fmla="*/ 137390 w 295326"/>
              <a:gd name="connsiteY66" fmla="*/ 269138 h 294118"/>
              <a:gd name="connsiteX67" fmla="*/ 112410 w 295326"/>
              <a:gd name="connsiteY67" fmla="*/ 269138 h 294118"/>
              <a:gd name="connsiteX68" fmla="*/ 112410 w 295326"/>
              <a:gd name="connsiteY68" fmla="*/ 244158 h 294118"/>
              <a:gd name="connsiteX69" fmla="*/ 112410 w 295326"/>
              <a:gd name="connsiteY69" fmla="*/ 244158 h 294118"/>
              <a:gd name="connsiteX70" fmla="*/ 194601 w 295326"/>
              <a:gd name="connsiteY70" fmla="*/ 244158 h 294118"/>
              <a:gd name="connsiteX71" fmla="*/ 219581 w 295326"/>
              <a:gd name="connsiteY71" fmla="*/ 244158 h 294118"/>
              <a:gd name="connsiteX72" fmla="*/ 219581 w 295326"/>
              <a:gd name="connsiteY72" fmla="*/ 269138 h 294118"/>
              <a:gd name="connsiteX73" fmla="*/ 194601 w 295326"/>
              <a:gd name="connsiteY73" fmla="*/ 269138 h 294118"/>
              <a:gd name="connsiteX74" fmla="*/ 194601 w 295326"/>
              <a:gd name="connsiteY74" fmla="*/ 244158 h 294118"/>
              <a:gd name="connsiteX75" fmla="*/ 194601 w 295326"/>
              <a:gd name="connsiteY75" fmla="*/ 244158 h 294118"/>
              <a:gd name="connsiteX76" fmla="*/ 151894 w 295326"/>
              <a:gd name="connsiteY76" fmla="*/ 244158 h 294118"/>
              <a:gd name="connsiteX77" fmla="*/ 176874 w 295326"/>
              <a:gd name="connsiteY77" fmla="*/ 244158 h 294118"/>
              <a:gd name="connsiteX78" fmla="*/ 176874 w 295326"/>
              <a:gd name="connsiteY78" fmla="*/ 269138 h 294118"/>
              <a:gd name="connsiteX79" fmla="*/ 151894 w 295326"/>
              <a:gd name="connsiteY79" fmla="*/ 269138 h 294118"/>
              <a:gd name="connsiteX80" fmla="*/ 151894 w 295326"/>
              <a:gd name="connsiteY80" fmla="*/ 244158 h 294118"/>
              <a:gd name="connsiteX81" fmla="*/ 151894 w 295326"/>
              <a:gd name="connsiteY81" fmla="*/ 244158 h 29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95326" h="294118">
                <a:moveTo>
                  <a:pt x="806" y="216358"/>
                </a:moveTo>
                <a:lnTo>
                  <a:pt x="93070" y="216358"/>
                </a:lnTo>
                <a:lnTo>
                  <a:pt x="93070" y="149074"/>
                </a:lnTo>
                <a:lnTo>
                  <a:pt x="119259" y="149074"/>
                </a:lnTo>
                <a:lnTo>
                  <a:pt x="124094" y="18534"/>
                </a:lnTo>
                <a:lnTo>
                  <a:pt x="152297" y="18534"/>
                </a:lnTo>
                <a:lnTo>
                  <a:pt x="157132" y="149074"/>
                </a:lnTo>
                <a:lnTo>
                  <a:pt x="183320" y="149074"/>
                </a:lnTo>
                <a:lnTo>
                  <a:pt x="183320" y="106769"/>
                </a:lnTo>
                <a:lnTo>
                  <a:pt x="204271" y="106769"/>
                </a:lnTo>
                <a:lnTo>
                  <a:pt x="209106" y="0"/>
                </a:lnTo>
                <a:lnTo>
                  <a:pt x="236100" y="0"/>
                </a:lnTo>
                <a:lnTo>
                  <a:pt x="240935" y="106769"/>
                </a:lnTo>
                <a:lnTo>
                  <a:pt x="263498" y="106769"/>
                </a:lnTo>
                <a:lnTo>
                  <a:pt x="263498" y="149074"/>
                </a:lnTo>
                <a:lnTo>
                  <a:pt x="280823" y="149074"/>
                </a:lnTo>
                <a:lnTo>
                  <a:pt x="280823" y="216358"/>
                </a:lnTo>
                <a:lnTo>
                  <a:pt x="295327" y="216358"/>
                </a:lnTo>
                <a:lnTo>
                  <a:pt x="295327" y="294118"/>
                </a:lnTo>
                <a:lnTo>
                  <a:pt x="0" y="294118"/>
                </a:lnTo>
                <a:lnTo>
                  <a:pt x="806" y="216358"/>
                </a:lnTo>
                <a:lnTo>
                  <a:pt x="806" y="216358"/>
                </a:lnTo>
                <a:close/>
                <a:moveTo>
                  <a:pt x="123691" y="176471"/>
                </a:moveTo>
                <a:lnTo>
                  <a:pt x="141016" y="176471"/>
                </a:lnTo>
                <a:lnTo>
                  <a:pt x="141016" y="193796"/>
                </a:lnTo>
                <a:lnTo>
                  <a:pt x="123691" y="193796"/>
                </a:lnTo>
                <a:lnTo>
                  <a:pt x="123691" y="176471"/>
                </a:lnTo>
                <a:lnTo>
                  <a:pt x="123691" y="176471"/>
                </a:lnTo>
                <a:close/>
                <a:moveTo>
                  <a:pt x="153103" y="176471"/>
                </a:moveTo>
                <a:lnTo>
                  <a:pt x="170427" y="176471"/>
                </a:lnTo>
                <a:lnTo>
                  <a:pt x="170427" y="193796"/>
                </a:lnTo>
                <a:lnTo>
                  <a:pt x="153103" y="193796"/>
                </a:lnTo>
                <a:lnTo>
                  <a:pt x="153103" y="176471"/>
                </a:lnTo>
                <a:lnTo>
                  <a:pt x="153103" y="176471"/>
                </a:lnTo>
                <a:close/>
                <a:moveTo>
                  <a:pt x="181709" y="176471"/>
                </a:moveTo>
                <a:lnTo>
                  <a:pt x="199033" y="176471"/>
                </a:lnTo>
                <a:lnTo>
                  <a:pt x="199033" y="193796"/>
                </a:lnTo>
                <a:lnTo>
                  <a:pt x="181709" y="193796"/>
                </a:lnTo>
                <a:lnTo>
                  <a:pt x="181709" y="176471"/>
                </a:lnTo>
                <a:lnTo>
                  <a:pt x="181709" y="176471"/>
                </a:lnTo>
                <a:close/>
                <a:moveTo>
                  <a:pt x="238518" y="176471"/>
                </a:moveTo>
                <a:lnTo>
                  <a:pt x="255843" y="176471"/>
                </a:lnTo>
                <a:lnTo>
                  <a:pt x="255843" y="193796"/>
                </a:lnTo>
                <a:lnTo>
                  <a:pt x="238518" y="193796"/>
                </a:lnTo>
                <a:lnTo>
                  <a:pt x="238518" y="176471"/>
                </a:lnTo>
                <a:lnTo>
                  <a:pt x="238518" y="176471"/>
                </a:lnTo>
                <a:close/>
                <a:moveTo>
                  <a:pt x="209106" y="176471"/>
                </a:moveTo>
                <a:lnTo>
                  <a:pt x="226431" y="176471"/>
                </a:lnTo>
                <a:lnTo>
                  <a:pt x="226431" y="193796"/>
                </a:lnTo>
                <a:lnTo>
                  <a:pt x="209106" y="193796"/>
                </a:lnTo>
                <a:lnTo>
                  <a:pt x="209106" y="176471"/>
                </a:lnTo>
                <a:lnTo>
                  <a:pt x="209106" y="176471"/>
                </a:lnTo>
                <a:close/>
                <a:moveTo>
                  <a:pt x="28606" y="244158"/>
                </a:moveTo>
                <a:lnTo>
                  <a:pt x="53586" y="244158"/>
                </a:lnTo>
                <a:lnTo>
                  <a:pt x="53586" y="269138"/>
                </a:lnTo>
                <a:lnTo>
                  <a:pt x="28606" y="269138"/>
                </a:lnTo>
                <a:lnTo>
                  <a:pt x="28606" y="244158"/>
                </a:lnTo>
                <a:lnTo>
                  <a:pt x="28606" y="244158"/>
                </a:lnTo>
                <a:close/>
                <a:moveTo>
                  <a:pt x="70911" y="244158"/>
                </a:moveTo>
                <a:lnTo>
                  <a:pt x="95891" y="244158"/>
                </a:lnTo>
                <a:lnTo>
                  <a:pt x="95891" y="269138"/>
                </a:lnTo>
                <a:lnTo>
                  <a:pt x="70911" y="269138"/>
                </a:lnTo>
                <a:lnTo>
                  <a:pt x="70911" y="244158"/>
                </a:lnTo>
                <a:lnTo>
                  <a:pt x="70911" y="244158"/>
                </a:lnTo>
                <a:close/>
                <a:moveTo>
                  <a:pt x="112410" y="244158"/>
                </a:moveTo>
                <a:lnTo>
                  <a:pt x="137390" y="244158"/>
                </a:lnTo>
                <a:lnTo>
                  <a:pt x="137390" y="269138"/>
                </a:lnTo>
                <a:lnTo>
                  <a:pt x="112410" y="269138"/>
                </a:lnTo>
                <a:lnTo>
                  <a:pt x="112410" y="244158"/>
                </a:lnTo>
                <a:lnTo>
                  <a:pt x="112410" y="244158"/>
                </a:lnTo>
                <a:close/>
                <a:moveTo>
                  <a:pt x="194601" y="244158"/>
                </a:moveTo>
                <a:lnTo>
                  <a:pt x="219581" y="244158"/>
                </a:lnTo>
                <a:lnTo>
                  <a:pt x="219581" y="269138"/>
                </a:lnTo>
                <a:lnTo>
                  <a:pt x="194601" y="269138"/>
                </a:lnTo>
                <a:lnTo>
                  <a:pt x="194601" y="244158"/>
                </a:lnTo>
                <a:lnTo>
                  <a:pt x="194601" y="244158"/>
                </a:lnTo>
                <a:close/>
                <a:moveTo>
                  <a:pt x="151894" y="244158"/>
                </a:moveTo>
                <a:lnTo>
                  <a:pt x="176874" y="244158"/>
                </a:lnTo>
                <a:lnTo>
                  <a:pt x="176874" y="269138"/>
                </a:lnTo>
                <a:lnTo>
                  <a:pt x="151894" y="269138"/>
                </a:lnTo>
                <a:lnTo>
                  <a:pt x="151894" y="244158"/>
                </a:lnTo>
                <a:lnTo>
                  <a:pt x="151894" y="244158"/>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6" name="Content Placeholder 1394">
            <a:extLst>
              <a:ext uri="{FF2B5EF4-FFF2-40B4-BE49-F238E27FC236}">
                <a16:creationId xmlns:a16="http://schemas.microsoft.com/office/drawing/2014/main" id="{15EFB09B-A94D-06CD-47E1-CC50CC52A386}"/>
              </a:ext>
            </a:extLst>
          </p:cNvPr>
          <p:cNvGrpSpPr/>
          <p:nvPr/>
        </p:nvGrpSpPr>
        <p:grpSpPr>
          <a:xfrm>
            <a:off x="575371" y="2004833"/>
            <a:ext cx="619684" cy="454084"/>
            <a:chOff x="404543" y="4142730"/>
            <a:chExt cx="426672" cy="312651"/>
          </a:xfrm>
          <a:solidFill>
            <a:schemeClr val="tx2"/>
          </a:solidFill>
        </p:grpSpPr>
        <p:sp>
          <p:nvSpPr>
            <p:cNvPr id="17" name="Freeform 1448">
              <a:extLst>
                <a:ext uri="{FF2B5EF4-FFF2-40B4-BE49-F238E27FC236}">
                  <a16:creationId xmlns:a16="http://schemas.microsoft.com/office/drawing/2014/main" id="{20941B5B-FECA-5A6F-60BE-6196855E4F48}"/>
                </a:ext>
              </a:extLst>
            </p:cNvPr>
            <p:cNvSpPr/>
            <p:nvPr/>
          </p:nvSpPr>
          <p:spPr>
            <a:xfrm>
              <a:off x="640571" y="4247254"/>
              <a:ext cx="67830" cy="103604"/>
            </a:xfrm>
            <a:custGeom>
              <a:avLst/>
              <a:gdLst>
                <a:gd name="connsiteX0" fmla="*/ 60910 w 67830"/>
                <a:gd name="connsiteY0" fmla="*/ 36492 h 103604"/>
                <a:gd name="connsiteX1" fmla="*/ 49629 w 67830"/>
                <a:gd name="connsiteY1" fmla="*/ 36492 h 103604"/>
                <a:gd name="connsiteX2" fmla="*/ 48420 w 67830"/>
                <a:gd name="connsiteY2" fmla="*/ 34880 h 103604"/>
                <a:gd name="connsiteX3" fmla="*/ 52046 w 67830"/>
                <a:gd name="connsiteY3" fmla="*/ 7886 h 103604"/>
                <a:gd name="connsiteX4" fmla="*/ 39556 w 67830"/>
                <a:gd name="connsiteY4" fmla="*/ 3051 h 103604"/>
                <a:gd name="connsiteX5" fmla="*/ 1280 w 67830"/>
                <a:gd name="connsiteY5" fmla="*/ 56234 h 103604"/>
                <a:gd name="connsiteX6" fmla="*/ 6921 w 67830"/>
                <a:gd name="connsiteY6" fmla="*/ 67113 h 103604"/>
                <a:gd name="connsiteX7" fmla="*/ 18202 w 67830"/>
                <a:gd name="connsiteY7" fmla="*/ 67113 h 103604"/>
                <a:gd name="connsiteX8" fmla="*/ 19411 w 67830"/>
                <a:gd name="connsiteY8" fmla="*/ 68724 h 103604"/>
                <a:gd name="connsiteX9" fmla="*/ 15785 w 67830"/>
                <a:gd name="connsiteY9" fmla="*/ 95719 h 103604"/>
                <a:gd name="connsiteX10" fmla="*/ 28275 w 67830"/>
                <a:gd name="connsiteY10" fmla="*/ 100553 h 103604"/>
                <a:gd name="connsiteX11" fmla="*/ 66551 w 67830"/>
                <a:gd name="connsiteY11" fmla="*/ 47370 h 103604"/>
                <a:gd name="connsiteX12" fmla="*/ 60910 w 67830"/>
                <a:gd name="connsiteY12" fmla="*/ 36492 h 103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30" h="103604">
                  <a:moveTo>
                    <a:pt x="60910" y="36492"/>
                  </a:moveTo>
                  <a:lnTo>
                    <a:pt x="49629" y="36492"/>
                  </a:lnTo>
                  <a:cubicBezTo>
                    <a:pt x="48823" y="36492"/>
                    <a:pt x="48017" y="35686"/>
                    <a:pt x="48420" y="34880"/>
                  </a:cubicBezTo>
                  <a:lnTo>
                    <a:pt x="52046" y="7886"/>
                  </a:lnTo>
                  <a:cubicBezTo>
                    <a:pt x="52852" y="634"/>
                    <a:pt x="43585" y="-2992"/>
                    <a:pt x="39556" y="3051"/>
                  </a:cubicBezTo>
                  <a:lnTo>
                    <a:pt x="1280" y="56234"/>
                  </a:lnTo>
                  <a:cubicBezTo>
                    <a:pt x="-1943" y="60666"/>
                    <a:pt x="1280" y="67113"/>
                    <a:pt x="6921" y="67113"/>
                  </a:cubicBezTo>
                  <a:lnTo>
                    <a:pt x="18202" y="67113"/>
                  </a:lnTo>
                  <a:cubicBezTo>
                    <a:pt x="19008" y="67113"/>
                    <a:pt x="19814" y="67918"/>
                    <a:pt x="19411" y="68724"/>
                  </a:cubicBezTo>
                  <a:lnTo>
                    <a:pt x="15785" y="95719"/>
                  </a:lnTo>
                  <a:cubicBezTo>
                    <a:pt x="14979" y="102971"/>
                    <a:pt x="24246" y="106597"/>
                    <a:pt x="28275" y="100553"/>
                  </a:cubicBezTo>
                  <a:lnTo>
                    <a:pt x="66551" y="47370"/>
                  </a:lnTo>
                  <a:cubicBezTo>
                    <a:pt x="69774" y="42938"/>
                    <a:pt x="66551" y="36492"/>
                    <a:pt x="60910" y="36492"/>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8" name="Freeform 1449">
              <a:extLst>
                <a:ext uri="{FF2B5EF4-FFF2-40B4-BE49-F238E27FC236}">
                  <a16:creationId xmlns:a16="http://schemas.microsoft.com/office/drawing/2014/main" id="{8170C3A3-B2DE-FEA1-93EF-286F3EC44233}"/>
                </a:ext>
              </a:extLst>
            </p:cNvPr>
            <p:cNvSpPr/>
            <p:nvPr/>
          </p:nvSpPr>
          <p:spPr>
            <a:xfrm>
              <a:off x="518564" y="4142730"/>
              <a:ext cx="312651" cy="312651"/>
            </a:xfrm>
            <a:custGeom>
              <a:avLst/>
              <a:gdLst>
                <a:gd name="connsiteX0" fmla="*/ 299356 w 312651"/>
                <a:gd name="connsiteY0" fmla="*/ 124496 h 312651"/>
                <a:gd name="connsiteX1" fmla="*/ 270750 w 312651"/>
                <a:gd name="connsiteY1" fmla="*/ 120467 h 312651"/>
                <a:gd name="connsiteX2" fmla="*/ 262692 w 312651"/>
                <a:gd name="connsiteY2" fmla="*/ 100725 h 312651"/>
                <a:gd name="connsiteX3" fmla="*/ 280017 w 312651"/>
                <a:gd name="connsiteY3" fmla="*/ 77760 h 312651"/>
                <a:gd name="connsiteX4" fmla="*/ 278405 w 312651"/>
                <a:gd name="connsiteY4" fmla="*/ 57615 h 312651"/>
                <a:gd name="connsiteX5" fmla="*/ 255037 w 312651"/>
                <a:gd name="connsiteY5" fmla="*/ 34247 h 312651"/>
                <a:gd name="connsiteX6" fmla="*/ 234892 w 312651"/>
                <a:gd name="connsiteY6" fmla="*/ 32635 h 312651"/>
                <a:gd name="connsiteX7" fmla="*/ 211926 w 312651"/>
                <a:gd name="connsiteY7" fmla="*/ 49960 h 312651"/>
                <a:gd name="connsiteX8" fmla="*/ 192184 w 312651"/>
                <a:gd name="connsiteY8" fmla="*/ 41902 h 312651"/>
                <a:gd name="connsiteX9" fmla="*/ 188155 w 312651"/>
                <a:gd name="connsiteY9" fmla="*/ 13296 h 312651"/>
                <a:gd name="connsiteX10" fmla="*/ 172845 w 312651"/>
                <a:gd name="connsiteY10" fmla="*/ 0 h 312651"/>
                <a:gd name="connsiteX11" fmla="*/ 139807 w 312651"/>
                <a:gd name="connsiteY11" fmla="*/ 0 h 312651"/>
                <a:gd name="connsiteX12" fmla="*/ 124497 w 312651"/>
                <a:gd name="connsiteY12" fmla="*/ 13296 h 312651"/>
                <a:gd name="connsiteX13" fmla="*/ 120468 w 312651"/>
                <a:gd name="connsiteY13" fmla="*/ 41902 h 312651"/>
                <a:gd name="connsiteX14" fmla="*/ 100725 w 312651"/>
                <a:gd name="connsiteY14" fmla="*/ 49960 h 312651"/>
                <a:gd name="connsiteX15" fmla="*/ 77760 w 312651"/>
                <a:gd name="connsiteY15" fmla="*/ 32635 h 312651"/>
                <a:gd name="connsiteX16" fmla="*/ 57615 w 312651"/>
                <a:gd name="connsiteY16" fmla="*/ 34247 h 312651"/>
                <a:gd name="connsiteX17" fmla="*/ 34247 w 312651"/>
                <a:gd name="connsiteY17" fmla="*/ 57615 h 312651"/>
                <a:gd name="connsiteX18" fmla="*/ 32635 w 312651"/>
                <a:gd name="connsiteY18" fmla="*/ 77760 h 312651"/>
                <a:gd name="connsiteX19" fmla="*/ 49960 w 312651"/>
                <a:gd name="connsiteY19" fmla="*/ 100725 h 312651"/>
                <a:gd name="connsiteX20" fmla="*/ 41902 w 312651"/>
                <a:gd name="connsiteY20" fmla="*/ 120467 h 312651"/>
                <a:gd name="connsiteX21" fmla="*/ 13296 w 312651"/>
                <a:gd name="connsiteY21" fmla="*/ 124496 h 312651"/>
                <a:gd name="connsiteX22" fmla="*/ 0 w 312651"/>
                <a:gd name="connsiteY22" fmla="*/ 139807 h 312651"/>
                <a:gd name="connsiteX23" fmla="*/ 0 w 312651"/>
                <a:gd name="connsiteY23" fmla="*/ 172845 h 312651"/>
                <a:gd name="connsiteX24" fmla="*/ 13296 w 312651"/>
                <a:gd name="connsiteY24" fmla="*/ 188155 h 312651"/>
                <a:gd name="connsiteX25" fmla="*/ 41902 w 312651"/>
                <a:gd name="connsiteY25" fmla="*/ 192184 h 312651"/>
                <a:gd name="connsiteX26" fmla="*/ 49960 w 312651"/>
                <a:gd name="connsiteY26" fmla="*/ 211926 h 312651"/>
                <a:gd name="connsiteX27" fmla="*/ 32635 w 312651"/>
                <a:gd name="connsiteY27" fmla="*/ 234892 h 312651"/>
                <a:gd name="connsiteX28" fmla="*/ 34247 w 312651"/>
                <a:gd name="connsiteY28" fmla="*/ 255037 h 312651"/>
                <a:gd name="connsiteX29" fmla="*/ 57615 w 312651"/>
                <a:gd name="connsiteY29" fmla="*/ 278405 h 312651"/>
                <a:gd name="connsiteX30" fmla="*/ 77760 w 312651"/>
                <a:gd name="connsiteY30" fmla="*/ 280017 h 312651"/>
                <a:gd name="connsiteX31" fmla="*/ 100725 w 312651"/>
                <a:gd name="connsiteY31" fmla="*/ 262692 h 312651"/>
                <a:gd name="connsiteX32" fmla="*/ 120468 w 312651"/>
                <a:gd name="connsiteY32" fmla="*/ 270750 h 312651"/>
                <a:gd name="connsiteX33" fmla="*/ 124497 w 312651"/>
                <a:gd name="connsiteY33" fmla="*/ 299356 h 312651"/>
                <a:gd name="connsiteX34" fmla="*/ 139807 w 312651"/>
                <a:gd name="connsiteY34" fmla="*/ 312652 h 312651"/>
                <a:gd name="connsiteX35" fmla="*/ 172845 w 312651"/>
                <a:gd name="connsiteY35" fmla="*/ 312652 h 312651"/>
                <a:gd name="connsiteX36" fmla="*/ 188155 w 312651"/>
                <a:gd name="connsiteY36" fmla="*/ 299356 h 312651"/>
                <a:gd name="connsiteX37" fmla="*/ 192184 w 312651"/>
                <a:gd name="connsiteY37" fmla="*/ 270750 h 312651"/>
                <a:gd name="connsiteX38" fmla="*/ 211926 w 312651"/>
                <a:gd name="connsiteY38" fmla="*/ 262692 h 312651"/>
                <a:gd name="connsiteX39" fmla="*/ 234892 w 312651"/>
                <a:gd name="connsiteY39" fmla="*/ 280017 h 312651"/>
                <a:gd name="connsiteX40" fmla="*/ 255037 w 312651"/>
                <a:gd name="connsiteY40" fmla="*/ 278405 h 312651"/>
                <a:gd name="connsiteX41" fmla="*/ 278405 w 312651"/>
                <a:gd name="connsiteY41" fmla="*/ 255037 h 312651"/>
                <a:gd name="connsiteX42" fmla="*/ 280017 w 312651"/>
                <a:gd name="connsiteY42" fmla="*/ 234892 h 312651"/>
                <a:gd name="connsiteX43" fmla="*/ 262692 w 312651"/>
                <a:gd name="connsiteY43" fmla="*/ 211523 h 312651"/>
                <a:gd name="connsiteX44" fmla="*/ 270750 w 312651"/>
                <a:gd name="connsiteY44" fmla="*/ 191781 h 312651"/>
                <a:gd name="connsiteX45" fmla="*/ 299356 w 312651"/>
                <a:gd name="connsiteY45" fmla="*/ 187752 h 312651"/>
                <a:gd name="connsiteX46" fmla="*/ 312652 w 312651"/>
                <a:gd name="connsiteY46" fmla="*/ 172442 h 312651"/>
                <a:gd name="connsiteX47" fmla="*/ 312652 w 312651"/>
                <a:gd name="connsiteY47" fmla="*/ 139404 h 312651"/>
                <a:gd name="connsiteX48" fmla="*/ 299356 w 312651"/>
                <a:gd name="connsiteY48" fmla="*/ 124496 h 312651"/>
                <a:gd name="connsiteX49" fmla="*/ 155923 w 312651"/>
                <a:gd name="connsiteY49" fmla="*/ 230057 h 312651"/>
                <a:gd name="connsiteX50" fmla="*/ 82595 w 312651"/>
                <a:gd name="connsiteY50" fmla="*/ 156729 h 312651"/>
                <a:gd name="connsiteX51" fmla="*/ 155923 w 312651"/>
                <a:gd name="connsiteY51" fmla="*/ 83401 h 312651"/>
                <a:gd name="connsiteX52" fmla="*/ 229251 w 312651"/>
                <a:gd name="connsiteY52" fmla="*/ 156729 h 312651"/>
                <a:gd name="connsiteX53" fmla="*/ 155923 w 312651"/>
                <a:gd name="connsiteY53" fmla="*/ 230057 h 31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12651" h="312651">
                  <a:moveTo>
                    <a:pt x="299356" y="124496"/>
                  </a:moveTo>
                  <a:lnTo>
                    <a:pt x="270750" y="120467"/>
                  </a:lnTo>
                  <a:cubicBezTo>
                    <a:pt x="267124" y="112007"/>
                    <a:pt x="266318" y="109589"/>
                    <a:pt x="262692" y="100725"/>
                  </a:cubicBezTo>
                  <a:lnTo>
                    <a:pt x="280017" y="77760"/>
                  </a:lnTo>
                  <a:cubicBezTo>
                    <a:pt x="284449" y="71716"/>
                    <a:pt x="284046" y="62853"/>
                    <a:pt x="278405" y="57615"/>
                  </a:cubicBezTo>
                  <a:lnTo>
                    <a:pt x="255037" y="34247"/>
                  </a:lnTo>
                  <a:cubicBezTo>
                    <a:pt x="249396" y="29009"/>
                    <a:pt x="240935" y="28203"/>
                    <a:pt x="234892" y="32635"/>
                  </a:cubicBezTo>
                  <a:lnTo>
                    <a:pt x="211926" y="49960"/>
                  </a:lnTo>
                  <a:cubicBezTo>
                    <a:pt x="203062" y="46334"/>
                    <a:pt x="201048" y="45528"/>
                    <a:pt x="192184" y="41902"/>
                  </a:cubicBezTo>
                  <a:lnTo>
                    <a:pt x="188155" y="13296"/>
                  </a:lnTo>
                  <a:cubicBezTo>
                    <a:pt x="186946" y="5640"/>
                    <a:pt x="180500" y="0"/>
                    <a:pt x="172845" y="0"/>
                  </a:cubicBezTo>
                  <a:lnTo>
                    <a:pt x="139807" y="0"/>
                  </a:lnTo>
                  <a:cubicBezTo>
                    <a:pt x="132152" y="0"/>
                    <a:pt x="125705" y="5640"/>
                    <a:pt x="124497" y="13296"/>
                  </a:cubicBezTo>
                  <a:lnTo>
                    <a:pt x="120468" y="41902"/>
                  </a:lnTo>
                  <a:cubicBezTo>
                    <a:pt x="111604" y="45528"/>
                    <a:pt x="109589" y="46334"/>
                    <a:pt x="100725" y="49960"/>
                  </a:cubicBezTo>
                  <a:lnTo>
                    <a:pt x="77760" y="32635"/>
                  </a:lnTo>
                  <a:cubicBezTo>
                    <a:pt x="71717" y="28203"/>
                    <a:pt x="62853" y="28606"/>
                    <a:pt x="57615" y="34247"/>
                  </a:cubicBezTo>
                  <a:lnTo>
                    <a:pt x="34247" y="57615"/>
                  </a:lnTo>
                  <a:cubicBezTo>
                    <a:pt x="28606" y="63256"/>
                    <a:pt x="28203" y="71716"/>
                    <a:pt x="32635" y="77760"/>
                  </a:cubicBezTo>
                  <a:lnTo>
                    <a:pt x="49960" y="100725"/>
                  </a:lnTo>
                  <a:cubicBezTo>
                    <a:pt x="46334" y="109589"/>
                    <a:pt x="45528" y="111604"/>
                    <a:pt x="41902" y="120467"/>
                  </a:cubicBezTo>
                  <a:lnTo>
                    <a:pt x="13296" y="124496"/>
                  </a:lnTo>
                  <a:cubicBezTo>
                    <a:pt x="5641" y="125705"/>
                    <a:pt x="0" y="132152"/>
                    <a:pt x="0" y="139807"/>
                  </a:cubicBezTo>
                  <a:lnTo>
                    <a:pt x="0" y="172845"/>
                  </a:lnTo>
                  <a:cubicBezTo>
                    <a:pt x="0" y="180500"/>
                    <a:pt x="5641" y="186946"/>
                    <a:pt x="13296" y="188155"/>
                  </a:cubicBezTo>
                  <a:lnTo>
                    <a:pt x="41902" y="192184"/>
                  </a:lnTo>
                  <a:cubicBezTo>
                    <a:pt x="45528" y="201048"/>
                    <a:pt x="46334" y="203062"/>
                    <a:pt x="49960" y="211926"/>
                  </a:cubicBezTo>
                  <a:lnTo>
                    <a:pt x="32635" y="234892"/>
                  </a:lnTo>
                  <a:cubicBezTo>
                    <a:pt x="28203" y="240935"/>
                    <a:pt x="28606" y="249799"/>
                    <a:pt x="34247" y="255037"/>
                  </a:cubicBezTo>
                  <a:lnTo>
                    <a:pt x="57615" y="278405"/>
                  </a:lnTo>
                  <a:cubicBezTo>
                    <a:pt x="63256" y="284046"/>
                    <a:pt x="71717" y="284448"/>
                    <a:pt x="77760" y="280017"/>
                  </a:cubicBezTo>
                  <a:lnTo>
                    <a:pt x="100725" y="262692"/>
                  </a:lnTo>
                  <a:cubicBezTo>
                    <a:pt x="109186" y="266318"/>
                    <a:pt x="111604" y="267124"/>
                    <a:pt x="120468" y="270750"/>
                  </a:cubicBezTo>
                  <a:lnTo>
                    <a:pt x="124497" y="299356"/>
                  </a:lnTo>
                  <a:cubicBezTo>
                    <a:pt x="125705" y="307011"/>
                    <a:pt x="132152" y="312652"/>
                    <a:pt x="139807" y="312652"/>
                  </a:cubicBezTo>
                  <a:lnTo>
                    <a:pt x="172845" y="312652"/>
                  </a:lnTo>
                  <a:cubicBezTo>
                    <a:pt x="180500" y="312652"/>
                    <a:pt x="186946" y="307011"/>
                    <a:pt x="188155" y="299356"/>
                  </a:cubicBezTo>
                  <a:lnTo>
                    <a:pt x="192184" y="270750"/>
                  </a:lnTo>
                  <a:cubicBezTo>
                    <a:pt x="201048" y="267124"/>
                    <a:pt x="203062" y="266318"/>
                    <a:pt x="211926" y="262692"/>
                  </a:cubicBezTo>
                  <a:lnTo>
                    <a:pt x="234892" y="280017"/>
                  </a:lnTo>
                  <a:cubicBezTo>
                    <a:pt x="240935" y="284448"/>
                    <a:pt x="249799" y="284046"/>
                    <a:pt x="255037" y="278405"/>
                  </a:cubicBezTo>
                  <a:lnTo>
                    <a:pt x="278405" y="255037"/>
                  </a:lnTo>
                  <a:cubicBezTo>
                    <a:pt x="284046" y="249396"/>
                    <a:pt x="284449" y="240935"/>
                    <a:pt x="280017" y="234892"/>
                  </a:cubicBezTo>
                  <a:lnTo>
                    <a:pt x="262692" y="211523"/>
                  </a:lnTo>
                  <a:cubicBezTo>
                    <a:pt x="266318" y="203062"/>
                    <a:pt x="267124" y="200645"/>
                    <a:pt x="270750" y="191781"/>
                  </a:cubicBezTo>
                  <a:lnTo>
                    <a:pt x="299356" y="187752"/>
                  </a:lnTo>
                  <a:cubicBezTo>
                    <a:pt x="307011" y="186543"/>
                    <a:pt x="312652" y="180097"/>
                    <a:pt x="312652" y="172442"/>
                  </a:cubicBezTo>
                  <a:lnTo>
                    <a:pt x="312652" y="139404"/>
                  </a:lnTo>
                  <a:cubicBezTo>
                    <a:pt x="312652" y="132152"/>
                    <a:pt x="306608" y="125705"/>
                    <a:pt x="299356" y="124496"/>
                  </a:cubicBezTo>
                  <a:close/>
                  <a:moveTo>
                    <a:pt x="155923" y="230057"/>
                  </a:moveTo>
                  <a:cubicBezTo>
                    <a:pt x="115230" y="230057"/>
                    <a:pt x="82595" y="197019"/>
                    <a:pt x="82595" y="156729"/>
                  </a:cubicBezTo>
                  <a:cubicBezTo>
                    <a:pt x="82595" y="116036"/>
                    <a:pt x="115633" y="83401"/>
                    <a:pt x="155923" y="83401"/>
                  </a:cubicBezTo>
                  <a:cubicBezTo>
                    <a:pt x="196616" y="83401"/>
                    <a:pt x="229251" y="116438"/>
                    <a:pt x="229251" y="156729"/>
                  </a:cubicBezTo>
                  <a:cubicBezTo>
                    <a:pt x="229251" y="197019"/>
                    <a:pt x="196213" y="230057"/>
                    <a:pt x="155923" y="230057"/>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9" name="Freeform 1450">
              <a:extLst>
                <a:ext uri="{FF2B5EF4-FFF2-40B4-BE49-F238E27FC236}">
                  <a16:creationId xmlns:a16="http://schemas.microsoft.com/office/drawing/2014/main" id="{AD9514EF-9BD8-6E7C-1EE2-9CFA80315199}"/>
                </a:ext>
              </a:extLst>
            </p:cNvPr>
            <p:cNvSpPr/>
            <p:nvPr/>
          </p:nvSpPr>
          <p:spPr>
            <a:xfrm>
              <a:off x="428314" y="4225728"/>
              <a:ext cx="84206" cy="27397"/>
            </a:xfrm>
            <a:custGeom>
              <a:avLst/>
              <a:gdLst>
                <a:gd name="connsiteX0" fmla="*/ 70508 w 84206"/>
                <a:gd name="connsiteY0" fmla="*/ 0 h 27397"/>
                <a:gd name="connsiteX1" fmla="*/ 13699 w 84206"/>
                <a:gd name="connsiteY1" fmla="*/ 0 h 27397"/>
                <a:gd name="connsiteX2" fmla="*/ 0 w 84206"/>
                <a:gd name="connsiteY2" fmla="*/ 13699 h 27397"/>
                <a:gd name="connsiteX3" fmla="*/ 13699 w 84206"/>
                <a:gd name="connsiteY3" fmla="*/ 27397 h 27397"/>
                <a:gd name="connsiteX4" fmla="*/ 70508 w 84206"/>
                <a:gd name="connsiteY4" fmla="*/ 27397 h 27397"/>
                <a:gd name="connsiteX5" fmla="*/ 84206 w 84206"/>
                <a:gd name="connsiteY5" fmla="*/ 13699 h 27397"/>
                <a:gd name="connsiteX6" fmla="*/ 70508 w 84206"/>
                <a:gd name="connsiteY6" fmla="*/ 0 h 2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06" h="27397">
                  <a:moveTo>
                    <a:pt x="70508" y="0"/>
                  </a:moveTo>
                  <a:lnTo>
                    <a:pt x="13699" y="0"/>
                  </a:lnTo>
                  <a:cubicBezTo>
                    <a:pt x="6044" y="0"/>
                    <a:pt x="0" y="6044"/>
                    <a:pt x="0" y="13699"/>
                  </a:cubicBezTo>
                  <a:cubicBezTo>
                    <a:pt x="0" y="21354"/>
                    <a:pt x="6044" y="27397"/>
                    <a:pt x="13699" y="27397"/>
                  </a:cubicBezTo>
                  <a:lnTo>
                    <a:pt x="70508" y="27397"/>
                  </a:lnTo>
                  <a:cubicBezTo>
                    <a:pt x="78163" y="27397"/>
                    <a:pt x="84206" y="21354"/>
                    <a:pt x="84206" y="13699"/>
                  </a:cubicBezTo>
                  <a:cubicBezTo>
                    <a:pt x="84206" y="6044"/>
                    <a:pt x="78163" y="0"/>
                    <a:pt x="70508" y="0"/>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0" name="Freeform 1451">
              <a:extLst>
                <a:ext uri="{FF2B5EF4-FFF2-40B4-BE49-F238E27FC236}">
                  <a16:creationId xmlns:a16="http://schemas.microsoft.com/office/drawing/2014/main" id="{642FE7F1-6AA1-998D-C66F-826BA9422B46}"/>
                </a:ext>
              </a:extLst>
            </p:cNvPr>
            <p:cNvSpPr/>
            <p:nvPr/>
          </p:nvSpPr>
          <p:spPr>
            <a:xfrm>
              <a:off x="404543" y="4285357"/>
              <a:ext cx="84206" cy="27397"/>
            </a:xfrm>
            <a:custGeom>
              <a:avLst/>
              <a:gdLst>
                <a:gd name="connsiteX0" fmla="*/ 84206 w 84206"/>
                <a:gd name="connsiteY0" fmla="*/ 13699 h 27397"/>
                <a:gd name="connsiteX1" fmla="*/ 70508 w 84206"/>
                <a:gd name="connsiteY1" fmla="*/ 0 h 27397"/>
                <a:gd name="connsiteX2" fmla="*/ 13699 w 84206"/>
                <a:gd name="connsiteY2" fmla="*/ 0 h 27397"/>
                <a:gd name="connsiteX3" fmla="*/ 0 w 84206"/>
                <a:gd name="connsiteY3" fmla="*/ 13699 h 27397"/>
                <a:gd name="connsiteX4" fmla="*/ 13699 w 84206"/>
                <a:gd name="connsiteY4" fmla="*/ 27398 h 27397"/>
                <a:gd name="connsiteX5" fmla="*/ 70508 w 84206"/>
                <a:gd name="connsiteY5" fmla="*/ 27398 h 27397"/>
                <a:gd name="connsiteX6" fmla="*/ 84206 w 84206"/>
                <a:gd name="connsiteY6" fmla="*/ 13699 h 2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06" h="27397">
                  <a:moveTo>
                    <a:pt x="84206" y="13699"/>
                  </a:moveTo>
                  <a:cubicBezTo>
                    <a:pt x="84206" y="6044"/>
                    <a:pt x="78163" y="0"/>
                    <a:pt x="70508" y="0"/>
                  </a:cubicBezTo>
                  <a:lnTo>
                    <a:pt x="13699" y="0"/>
                  </a:lnTo>
                  <a:cubicBezTo>
                    <a:pt x="6044" y="0"/>
                    <a:pt x="0" y="6044"/>
                    <a:pt x="0" y="13699"/>
                  </a:cubicBezTo>
                  <a:cubicBezTo>
                    <a:pt x="0" y="21354"/>
                    <a:pt x="6044" y="27398"/>
                    <a:pt x="13699" y="27398"/>
                  </a:cubicBezTo>
                  <a:lnTo>
                    <a:pt x="70508" y="27398"/>
                  </a:lnTo>
                  <a:cubicBezTo>
                    <a:pt x="78163" y="27398"/>
                    <a:pt x="84206" y="21354"/>
                    <a:pt x="84206" y="13699"/>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1" name="Freeform 1452">
              <a:extLst>
                <a:ext uri="{FF2B5EF4-FFF2-40B4-BE49-F238E27FC236}">
                  <a16:creationId xmlns:a16="http://schemas.microsoft.com/office/drawing/2014/main" id="{4BE949B0-A301-A78C-286B-FAF515B5FADA}"/>
                </a:ext>
              </a:extLst>
            </p:cNvPr>
            <p:cNvSpPr/>
            <p:nvPr/>
          </p:nvSpPr>
          <p:spPr>
            <a:xfrm>
              <a:off x="428314" y="4345793"/>
              <a:ext cx="84206" cy="27397"/>
            </a:xfrm>
            <a:custGeom>
              <a:avLst/>
              <a:gdLst>
                <a:gd name="connsiteX0" fmla="*/ 70508 w 84206"/>
                <a:gd name="connsiteY0" fmla="*/ 0 h 27397"/>
                <a:gd name="connsiteX1" fmla="*/ 13699 w 84206"/>
                <a:gd name="connsiteY1" fmla="*/ 0 h 27397"/>
                <a:gd name="connsiteX2" fmla="*/ 0 w 84206"/>
                <a:gd name="connsiteY2" fmla="*/ 13699 h 27397"/>
                <a:gd name="connsiteX3" fmla="*/ 13699 w 84206"/>
                <a:gd name="connsiteY3" fmla="*/ 27398 h 27397"/>
                <a:gd name="connsiteX4" fmla="*/ 70508 w 84206"/>
                <a:gd name="connsiteY4" fmla="*/ 27398 h 27397"/>
                <a:gd name="connsiteX5" fmla="*/ 84206 w 84206"/>
                <a:gd name="connsiteY5" fmla="*/ 13699 h 27397"/>
                <a:gd name="connsiteX6" fmla="*/ 70508 w 84206"/>
                <a:gd name="connsiteY6" fmla="*/ 0 h 2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06" h="27397">
                  <a:moveTo>
                    <a:pt x="70508" y="0"/>
                  </a:moveTo>
                  <a:lnTo>
                    <a:pt x="13699" y="0"/>
                  </a:lnTo>
                  <a:cubicBezTo>
                    <a:pt x="6044" y="0"/>
                    <a:pt x="0" y="6044"/>
                    <a:pt x="0" y="13699"/>
                  </a:cubicBezTo>
                  <a:cubicBezTo>
                    <a:pt x="0" y="21354"/>
                    <a:pt x="6044" y="27398"/>
                    <a:pt x="13699" y="27398"/>
                  </a:cubicBezTo>
                  <a:lnTo>
                    <a:pt x="70508" y="27398"/>
                  </a:lnTo>
                  <a:cubicBezTo>
                    <a:pt x="78163" y="27398"/>
                    <a:pt x="84206" y="21354"/>
                    <a:pt x="84206" y="13699"/>
                  </a:cubicBezTo>
                  <a:cubicBezTo>
                    <a:pt x="84206" y="6044"/>
                    <a:pt x="78163" y="0"/>
                    <a:pt x="70508" y="0"/>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35" name="Freeform 1458">
            <a:extLst>
              <a:ext uri="{FF2B5EF4-FFF2-40B4-BE49-F238E27FC236}">
                <a16:creationId xmlns:a16="http://schemas.microsoft.com/office/drawing/2014/main" id="{862DC982-8E3C-11AE-726E-3DD2B1C54274}"/>
              </a:ext>
            </a:extLst>
          </p:cNvPr>
          <p:cNvSpPr/>
          <p:nvPr/>
        </p:nvSpPr>
        <p:spPr>
          <a:xfrm>
            <a:off x="8027065" y="3505724"/>
            <a:ext cx="557662" cy="463931"/>
          </a:xfrm>
          <a:custGeom>
            <a:avLst/>
            <a:gdLst>
              <a:gd name="connsiteX0" fmla="*/ 77357 w 342063"/>
              <a:gd name="connsiteY0" fmla="*/ 186348 h 258870"/>
              <a:gd name="connsiteX1" fmla="*/ 41499 w 342063"/>
              <a:gd name="connsiteY1" fmla="*/ 222206 h 258870"/>
              <a:gd name="connsiteX2" fmla="*/ 77357 w 342063"/>
              <a:gd name="connsiteY2" fmla="*/ 258065 h 258870"/>
              <a:gd name="connsiteX3" fmla="*/ 113215 w 342063"/>
              <a:gd name="connsiteY3" fmla="*/ 222206 h 258870"/>
              <a:gd name="connsiteX4" fmla="*/ 77357 w 342063"/>
              <a:gd name="connsiteY4" fmla="*/ 186348 h 258870"/>
              <a:gd name="connsiteX5" fmla="*/ 77357 w 342063"/>
              <a:gd name="connsiteY5" fmla="*/ 242351 h 258870"/>
              <a:gd name="connsiteX6" fmla="*/ 57212 w 342063"/>
              <a:gd name="connsiteY6" fmla="*/ 222206 h 258870"/>
              <a:gd name="connsiteX7" fmla="*/ 77357 w 342063"/>
              <a:gd name="connsiteY7" fmla="*/ 202061 h 258870"/>
              <a:gd name="connsiteX8" fmla="*/ 97502 w 342063"/>
              <a:gd name="connsiteY8" fmla="*/ 222206 h 258870"/>
              <a:gd name="connsiteX9" fmla="*/ 77357 w 342063"/>
              <a:gd name="connsiteY9" fmla="*/ 242351 h 258870"/>
              <a:gd name="connsiteX10" fmla="*/ 331991 w 342063"/>
              <a:gd name="connsiteY10" fmla="*/ 171844 h 258870"/>
              <a:gd name="connsiteX11" fmla="*/ 338840 w 342063"/>
              <a:gd name="connsiteY11" fmla="*/ 175873 h 258870"/>
              <a:gd name="connsiteX12" fmla="*/ 342064 w 342063"/>
              <a:gd name="connsiteY12" fmla="*/ 181513 h 258870"/>
              <a:gd name="connsiteX13" fmla="*/ 342064 w 342063"/>
              <a:gd name="connsiteY13" fmla="*/ 180305 h 258870"/>
              <a:gd name="connsiteX14" fmla="*/ 325142 w 342063"/>
              <a:gd name="connsiteY14" fmla="*/ 156130 h 258870"/>
              <a:gd name="connsiteX15" fmla="*/ 282434 w 342063"/>
              <a:gd name="connsiteY15" fmla="*/ 141223 h 258870"/>
              <a:gd name="connsiteX16" fmla="*/ 259066 w 342063"/>
              <a:gd name="connsiteY16" fmla="*/ 118258 h 258870"/>
              <a:gd name="connsiteX17" fmla="*/ 241338 w 342063"/>
              <a:gd name="connsiteY17" fmla="*/ 94083 h 258870"/>
              <a:gd name="connsiteX18" fmla="*/ 209912 w 342063"/>
              <a:gd name="connsiteY18" fmla="*/ 80788 h 258870"/>
              <a:gd name="connsiteX19" fmla="*/ 107172 w 342063"/>
              <a:gd name="connsiteY19" fmla="*/ 79982 h 258870"/>
              <a:gd name="connsiteX20" fmla="*/ 76954 w 342063"/>
              <a:gd name="connsiteY20" fmla="*/ 89652 h 258870"/>
              <a:gd name="connsiteX21" fmla="*/ 44319 w 342063"/>
              <a:gd name="connsiteY21" fmla="*/ 138806 h 258870"/>
              <a:gd name="connsiteX22" fmla="*/ 41902 w 342063"/>
              <a:gd name="connsiteY22" fmla="*/ 140820 h 258870"/>
              <a:gd name="connsiteX23" fmla="*/ 33844 w 342063"/>
              <a:gd name="connsiteY23" fmla="*/ 127927 h 258870"/>
              <a:gd name="connsiteX24" fmla="*/ 35858 w 342063"/>
              <a:gd name="connsiteY24" fmla="*/ 119063 h 258870"/>
              <a:gd name="connsiteX25" fmla="*/ 51169 w 342063"/>
              <a:gd name="connsiteY25" fmla="*/ 104962 h 258870"/>
              <a:gd name="connsiteX26" fmla="*/ 58421 w 342063"/>
              <a:gd name="connsiteY26" fmla="*/ 95292 h 258870"/>
              <a:gd name="connsiteX27" fmla="*/ 59629 w 342063"/>
              <a:gd name="connsiteY27" fmla="*/ 81996 h 258870"/>
              <a:gd name="connsiteX28" fmla="*/ 57615 w 342063"/>
              <a:gd name="connsiteY28" fmla="*/ 76356 h 258870"/>
              <a:gd name="connsiteX29" fmla="*/ 75745 w 342063"/>
              <a:gd name="connsiteY29" fmla="*/ 40901 h 258870"/>
              <a:gd name="connsiteX30" fmla="*/ 75745 w 342063"/>
              <a:gd name="connsiteY30" fmla="*/ 40498 h 258870"/>
              <a:gd name="connsiteX31" fmla="*/ 75745 w 342063"/>
              <a:gd name="connsiteY31" fmla="*/ 40498 h 258870"/>
              <a:gd name="connsiteX32" fmla="*/ 72925 w 342063"/>
              <a:gd name="connsiteY32" fmla="*/ 28411 h 258870"/>
              <a:gd name="connsiteX33" fmla="*/ 60032 w 342063"/>
              <a:gd name="connsiteY33" fmla="*/ 20756 h 258870"/>
              <a:gd name="connsiteX34" fmla="*/ 58421 w 342063"/>
              <a:gd name="connsiteY34" fmla="*/ 21158 h 258870"/>
              <a:gd name="connsiteX35" fmla="*/ 58018 w 342063"/>
              <a:gd name="connsiteY35" fmla="*/ 19144 h 258870"/>
              <a:gd name="connsiteX36" fmla="*/ 48348 w 342063"/>
              <a:gd name="connsiteY36" fmla="*/ 21561 h 258870"/>
              <a:gd name="connsiteX37" fmla="*/ 48751 w 342063"/>
              <a:gd name="connsiteY37" fmla="*/ 23576 h 258870"/>
              <a:gd name="connsiteX38" fmla="*/ 32232 w 342063"/>
              <a:gd name="connsiteY38" fmla="*/ 27605 h 258870"/>
              <a:gd name="connsiteX39" fmla="*/ 31829 w 342063"/>
              <a:gd name="connsiteY39" fmla="*/ 25590 h 258870"/>
              <a:gd name="connsiteX40" fmla="*/ 22160 w 342063"/>
              <a:gd name="connsiteY40" fmla="*/ 28008 h 258870"/>
              <a:gd name="connsiteX41" fmla="*/ 22562 w 342063"/>
              <a:gd name="connsiteY41" fmla="*/ 30022 h 258870"/>
              <a:gd name="connsiteX42" fmla="*/ 21354 w 342063"/>
              <a:gd name="connsiteY42" fmla="*/ 30425 h 258870"/>
              <a:gd name="connsiteX43" fmla="*/ 13699 w 342063"/>
              <a:gd name="connsiteY43" fmla="*/ 43318 h 258870"/>
              <a:gd name="connsiteX44" fmla="*/ 16519 w 342063"/>
              <a:gd name="connsiteY44" fmla="*/ 55405 h 258870"/>
              <a:gd name="connsiteX45" fmla="*/ 16519 w 342063"/>
              <a:gd name="connsiteY45" fmla="*/ 55405 h 258870"/>
              <a:gd name="connsiteX46" fmla="*/ 16519 w 342063"/>
              <a:gd name="connsiteY46" fmla="*/ 55808 h 258870"/>
              <a:gd name="connsiteX47" fmla="*/ 48348 w 342063"/>
              <a:gd name="connsiteY47" fmla="*/ 78773 h 258870"/>
              <a:gd name="connsiteX48" fmla="*/ 50766 w 342063"/>
              <a:gd name="connsiteY48" fmla="*/ 84817 h 258870"/>
              <a:gd name="connsiteX49" fmla="*/ 48751 w 342063"/>
              <a:gd name="connsiteY49" fmla="*/ 94889 h 258870"/>
              <a:gd name="connsiteX50" fmla="*/ 33441 w 342063"/>
              <a:gd name="connsiteY50" fmla="*/ 108991 h 258870"/>
              <a:gd name="connsiteX51" fmla="*/ 26189 w 342063"/>
              <a:gd name="connsiteY51" fmla="*/ 118258 h 258870"/>
              <a:gd name="connsiteX52" fmla="*/ 24980 w 342063"/>
              <a:gd name="connsiteY52" fmla="*/ 131150 h 258870"/>
              <a:gd name="connsiteX53" fmla="*/ 33844 w 342063"/>
              <a:gd name="connsiteY53" fmla="*/ 146461 h 258870"/>
              <a:gd name="connsiteX54" fmla="*/ 806 w 342063"/>
              <a:gd name="connsiteY54" fmla="*/ 169829 h 258870"/>
              <a:gd name="connsiteX55" fmla="*/ 806 w 342063"/>
              <a:gd name="connsiteY55" fmla="*/ 173455 h 258870"/>
              <a:gd name="connsiteX56" fmla="*/ 8461 w 342063"/>
              <a:gd name="connsiteY56" fmla="*/ 173455 h 258870"/>
              <a:gd name="connsiteX57" fmla="*/ 11281 w 342063"/>
              <a:gd name="connsiteY57" fmla="*/ 176276 h 258870"/>
              <a:gd name="connsiteX58" fmla="*/ 15713 w 342063"/>
              <a:gd name="connsiteY58" fmla="*/ 189168 h 258870"/>
              <a:gd name="connsiteX59" fmla="*/ 14907 w 342063"/>
              <a:gd name="connsiteY59" fmla="*/ 191989 h 258870"/>
              <a:gd name="connsiteX60" fmla="*/ 403 w 342063"/>
              <a:gd name="connsiteY60" fmla="*/ 191989 h 258870"/>
              <a:gd name="connsiteX61" fmla="*/ 0 w 342063"/>
              <a:gd name="connsiteY61" fmla="*/ 205687 h 258870"/>
              <a:gd name="connsiteX62" fmla="*/ 17728 w 342063"/>
              <a:gd name="connsiteY62" fmla="*/ 223415 h 258870"/>
              <a:gd name="connsiteX63" fmla="*/ 33441 w 342063"/>
              <a:gd name="connsiteY63" fmla="*/ 223415 h 258870"/>
              <a:gd name="connsiteX64" fmla="*/ 76551 w 342063"/>
              <a:gd name="connsiteY64" fmla="*/ 180305 h 258870"/>
              <a:gd name="connsiteX65" fmla="*/ 119662 w 342063"/>
              <a:gd name="connsiteY65" fmla="*/ 223415 h 258870"/>
              <a:gd name="connsiteX66" fmla="*/ 205883 w 342063"/>
              <a:gd name="connsiteY66" fmla="*/ 223415 h 258870"/>
              <a:gd name="connsiteX67" fmla="*/ 248993 w 342063"/>
              <a:gd name="connsiteY67" fmla="*/ 180305 h 258870"/>
              <a:gd name="connsiteX68" fmla="*/ 292104 w 342063"/>
              <a:gd name="connsiteY68" fmla="*/ 223415 h 258870"/>
              <a:gd name="connsiteX69" fmla="*/ 323933 w 342063"/>
              <a:gd name="connsiteY69" fmla="*/ 223415 h 258870"/>
              <a:gd name="connsiteX70" fmla="*/ 341661 w 342063"/>
              <a:gd name="connsiteY70" fmla="*/ 205284 h 258870"/>
              <a:gd name="connsiteX71" fmla="*/ 341661 w 342063"/>
              <a:gd name="connsiteY71" fmla="*/ 198435 h 258870"/>
              <a:gd name="connsiteX72" fmla="*/ 328365 w 342063"/>
              <a:gd name="connsiteY72" fmla="*/ 198435 h 258870"/>
              <a:gd name="connsiteX73" fmla="*/ 328365 w 342063"/>
              <a:gd name="connsiteY73" fmla="*/ 173052 h 258870"/>
              <a:gd name="connsiteX74" fmla="*/ 331991 w 342063"/>
              <a:gd name="connsiteY74" fmla="*/ 171844 h 258870"/>
              <a:gd name="connsiteX75" fmla="*/ 45931 w 342063"/>
              <a:gd name="connsiteY75" fmla="*/ 74744 h 258870"/>
              <a:gd name="connsiteX76" fmla="*/ 19339 w 342063"/>
              <a:gd name="connsiteY76" fmla="*/ 54599 h 258870"/>
              <a:gd name="connsiteX77" fmla="*/ 19339 w 342063"/>
              <a:gd name="connsiteY77" fmla="*/ 54196 h 258870"/>
              <a:gd name="connsiteX78" fmla="*/ 19339 w 342063"/>
              <a:gd name="connsiteY78" fmla="*/ 54196 h 258870"/>
              <a:gd name="connsiteX79" fmla="*/ 16922 w 342063"/>
              <a:gd name="connsiteY79" fmla="*/ 44527 h 258870"/>
              <a:gd name="connsiteX80" fmla="*/ 25786 w 342063"/>
              <a:gd name="connsiteY80" fmla="*/ 31634 h 258870"/>
              <a:gd name="connsiteX81" fmla="*/ 26189 w 342063"/>
              <a:gd name="connsiteY81" fmla="*/ 32440 h 258870"/>
              <a:gd name="connsiteX82" fmla="*/ 20951 w 342063"/>
              <a:gd name="connsiteY82" fmla="*/ 43721 h 258870"/>
              <a:gd name="connsiteX83" fmla="*/ 23368 w 342063"/>
              <a:gd name="connsiteY83" fmla="*/ 53391 h 258870"/>
              <a:gd name="connsiteX84" fmla="*/ 23368 w 342063"/>
              <a:gd name="connsiteY84" fmla="*/ 53391 h 258870"/>
              <a:gd name="connsiteX85" fmla="*/ 23368 w 342063"/>
              <a:gd name="connsiteY85" fmla="*/ 53793 h 258870"/>
              <a:gd name="connsiteX86" fmla="*/ 47139 w 342063"/>
              <a:gd name="connsiteY86" fmla="*/ 70715 h 258870"/>
              <a:gd name="connsiteX87" fmla="*/ 45931 w 342063"/>
              <a:gd name="connsiteY87" fmla="*/ 74744 h 258870"/>
              <a:gd name="connsiteX88" fmla="*/ 157937 w 342063"/>
              <a:gd name="connsiteY88" fmla="*/ 133971 h 258870"/>
              <a:gd name="connsiteX89" fmla="*/ 149879 w 342063"/>
              <a:gd name="connsiteY89" fmla="*/ 141223 h 258870"/>
              <a:gd name="connsiteX90" fmla="*/ 78969 w 342063"/>
              <a:gd name="connsiteY90" fmla="*/ 141223 h 258870"/>
              <a:gd name="connsiteX91" fmla="*/ 74940 w 342063"/>
              <a:gd name="connsiteY91" fmla="*/ 135180 h 258870"/>
              <a:gd name="connsiteX92" fmla="*/ 93876 w 342063"/>
              <a:gd name="connsiteY92" fmla="*/ 106574 h 258870"/>
              <a:gd name="connsiteX93" fmla="*/ 106366 w 342063"/>
              <a:gd name="connsiteY93" fmla="*/ 100530 h 258870"/>
              <a:gd name="connsiteX94" fmla="*/ 149879 w 342063"/>
              <a:gd name="connsiteY94" fmla="*/ 100530 h 258870"/>
              <a:gd name="connsiteX95" fmla="*/ 157937 w 342063"/>
              <a:gd name="connsiteY95" fmla="*/ 107782 h 258870"/>
              <a:gd name="connsiteX96" fmla="*/ 157937 w 342063"/>
              <a:gd name="connsiteY96" fmla="*/ 133971 h 258870"/>
              <a:gd name="connsiteX97" fmla="*/ 239726 w 342063"/>
              <a:gd name="connsiteY97" fmla="*/ 141223 h 258870"/>
              <a:gd name="connsiteX98" fmla="*/ 177680 w 342063"/>
              <a:gd name="connsiteY98" fmla="*/ 141223 h 258870"/>
              <a:gd name="connsiteX99" fmla="*/ 170427 w 342063"/>
              <a:gd name="connsiteY99" fmla="*/ 133971 h 258870"/>
              <a:gd name="connsiteX100" fmla="*/ 170427 w 342063"/>
              <a:gd name="connsiteY100" fmla="*/ 107379 h 258870"/>
              <a:gd name="connsiteX101" fmla="*/ 177680 w 342063"/>
              <a:gd name="connsiteY101" fmla="*/ 100127 h 258870"/>
              <a:gd name="connsiteX102" fmla="*/ 215955 w 342063"/>
              <a:gd name="connsiteY102" fmla="*/ 100127 h 258870"/>
              <a:gd name="connsiteX103" fmla="*/ 226834 w 342063"/>
              <a:gd name="connsiteY103" fmla="*/ 106171 h 258870"/>
              <a:gd name="connsiteX104" fmla="*/ 243353 w 342063"/>
              <a:gd name="connsiteY104" fmla="*/ 134777 h 258870"/>
              <a:gd name="connsiteX105" fmla="*/ 239726 w 342063"/>
              <a:gd name="connsiteY105" fmla="*/ 141223 h 258870"/>
              <a:gd name="connsiteX106" fmla="*/ 249396 w 342063"/>
              <a:gd name="connsiteY106" fmla="*/ 184736 h 258870"/>
              <a:gd name="connsiteX107" fmla="*/ 212329 w 342063"/>
              <a:gd name="connsiteY107" fmla="*/ 221803 h 258870"/>
              <a:gd name="connsiteX108" fmla="*/ 249396 w 342063"/>
              <a:gd name="connsiteY108" fmla="*/ 258870 h 258870"/>
              <a:gd name="connsiteX109" fmla="*/ 286463 w 342063"/>
              <a:gd name="connsiteY109" fmla="*/ 221803 h 258870"/>
              <a:gd name="connsiteX110" fmla="*/ 249396 w 342063"/>
              <a:gd name="connsiteY110" fmla="*/ 184736 h 258870"/>
              <a:gd name="connsiteX111" fmla="*/ 249396 w 342063"/>
              <a:gd name="connsiteY111" fmla="*/ 243157 h 258870"/>
              <a:gd name="connsiteX112" fmla="*/ 228445 w 342063"/>
              <a:gd name="connsiteY112" fmla="*/ 222206 h 258870"/>
              <a:gd name="connsiteX113" fmla="*/ 249396 w 342063"/>
              <a:gd name="connsiteY113" fmla="*/ 201255 h 258870"/>
              <a:gd name="connsiteX114" fmla="*/ 270347 w 342063"/>
              <a:gd name="connsiteY114" fmla="*/ 222206 h 258870"/>
              <a:gd name="connsiteX115" fmla="*/ 249396 w 342063"/>
              <a:gd name="connsiteY115" fmla="*/ 243157 h 258870"/>
              <a:gd name="connsiteX116" fmla="*/ 18936 w 342063"/>
              <a:gd name="connsiteY116" fmla="*/ 12698 h 258870"/>
              <a:gd name="connsiteX117" fmla="*/ 22562 w 342063"/>
              <a:gd name="connsiteY117" fmla="*/ 6654 h 258870"/>
              <a:gd name="connsiteX118" fmla="*/ 28606 w 342063"/>
              <a:gd name="connsiteY118" fmla="*/ 10280 h 258870"/>
              <a:gd name="connsiteX119" fmla="*/ 31426 w 342063"/>
              <a:gd name="connsiteY119" fmla="*/ 21561 h 258870"/>
              <a:gd name="connsiteX120" fmla="*/ 21757 w 342063"/>
              <a:gd name="connsiteY120" fmla="*/ 23979 h 258870"/>
              <a:gd name="connsiteX121" fmla="*/ 18936 w 342063"/>
              <a:gd name="connsiteY121" fmla="*/ 12698 h 258870"/>
              <a:gd name="connsiteX122" fmla="*/ 44722 w 342063"/>
              <a:gd name="connsiteY122" fmla="*/ 6251 h 258870"/>
              <a:gd name="connsiteX123" fmla="*/ 48348 w 342063"/>
              <a:gd name="connsiteY123" fmla="*/ 207 h 258870"/>
              <a:gd name="connsiteX124" fmla="*/ 54392 w 342063"/>
              <a:gd name="connsiteY124" fmla="*/ 3834 h 258870"/>
              <a:gd name="connsiteX125" fmla="*/ 57212 w 342063"/>
              <a:gd name="connsiteY125" fmla="*/ 15115 h 258870"/>
              <a:gd name="connsiteX126" fmla="*/ 47542 w 342063"/>
              <a:gd name="connsiteY126" fmla="*/ 17532 h 258870"/>
              <a:gd name="connsiteX127" fmla="*/ 44722 w 342063"/>
              <a:gd name="connsiteY127" fmla="*/ 6251 h 2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42063" h="258870">
                <a:moveTo>
                  <a:pt x="77357" y="186348"/>
                </a:moveTo>
                <a:cubicBezTo>
                  <a:pt x="57615" y="186348"/>
                  <a:pt x="41499" y="202464"/>
                  <a:pt x="41499" y="222206"/>
                </a:cubicBezTo>
                <a:cubicBezTo>
                  <a:pt x="41499" y="241948"/>
                  <a:pt x="57615" y="258065"/>
                  <a:pt x="77357" y="258065"/>
                </a:cubicBezTo>
                <a:cubicBezTo>
                  <a:pt x="97099" y="258065"/>
                  <a:pt x="113215" y="241948"/>
                  <a:pt x="113215" y="222206"/>
                </a:cubicBezTo>
                <a:cubicBezTo>
                  <a:pt x="113215" y="202464"/>
                  <a:pt x="97099" y="186348"/>
                  <a:pt x="77357" y="186348"/>
                </a:cubicBezTo>
                <a:close/>
                <a:moveTo>
                  <a:pt x="77357" y="242351"/>
                </a:moveTo>
                <a:cubicBezTo>
                  <a:pt x="66076" y="242351"/>
                  <a:pt x="57212" y="233488"/>
                  <a:pt x="57212" y="222206"/>
                </a:cubicBezTo>
                <a:cubicBezTo>
                  <a:pt x="57212" y="210925"/>
                  <a:pt x="66076" y="202061"/>
                  <a:pt x="77357" y="202061"/>
                </a:cubicBezTo>
                <a:cubicBezTo>
                  <a:pt x="88638" y="202061"/>
                  <a:pt x="97502" y="210925"/>
                  <a:pt x="97502" y="222206"/>
                </a:cubicBezTo>
                <a:cubicBezTo>
                  <a:pt x="97502" y="233085"/>
                  <a:pt x="88235" y="242351"/>
                  <a:pt x="77357" y="242351"/>
                </a:cubicBezTo>
                <a:close/>
                <a:moveTo>
                  <a:pt x="331991" y="171844"/>
                </a:moveTo>
                <a:cubicBezTo>
                  <a:pt x="334408" y="171844"/>
                  <a:pt x="337632" y="173455"/>
                  <a:pt x="338840" y="175873"/>
                </a:cubicBezTo>
                <a:lnTo>
                  <a:pt x="342064" y="181513"/>
                </a:lnTo>
                <a:lnTo>
                  <a:pt x="342064" y="180305"/>
                </a:lnTo>
                <a:cubicBezTo>
                  <a:pt x="342064" y="170635"/>
                  <a:pt x="334408" y="159354"/>
                  <a:pt x="325142" y="156130"/>
                </a:cubicBezTo>
                <a:lnTo>
                  <a:pt x="282434" y="141223"/>
                </a:lnTo>
                <a:cubicBezTo>
                  <a:pt x="273167" y="137597"/>
                  <a:pt x="262692" y="127121"/>
                  <a:pt x="259066" y="118258"/>
                </a:cubicBezTo>
                <a:lnTo>
                  <a:pt x="241338" y="94083"/>
                </a:lnTo>
                <a:cubicBezTo>
                  <a:pt x="237712" y="84817"/>
                  <a:pt x="219984" y="80788"/>
                  <a:pt x="209912" y="80788"/>
                </a:cubicBezTo>
                <a:lnTo>
                  <a:pt x="107172" y="79982"/>
                </a:lnTo>
                <a:cubicBezTo>
                  <a:pt x="97502" y="79982"/>
                  <a:pt x="83804" y="82399"/>
                  <a:pt x="76954" y="89652"/>
                </a:cubicBezTo>
                <a:lnTo>
                  <a:pt x="44319" y="138806"/>
                </a:lnTo>
                <a:cubicBezTo>
                  <a:pt x="43916" y="139612"/>
                  <a:pt x="42708" y="140014"/>
                  <a:pt x="41902" y="140820"/>
                </a:cubicBezTo>
                <a:cubicBezTo>
                  <a:pt x="37067" y="135180"/>
                  <a:pt x="34650" y="131150"/>
                  <a:pt x="33844" y="127927"/>
                </a:cubicBezTo>
                <a:cubicBezTo>
                  <a:pt x="33038" y="124301"/>
                  <a:pt x="33844" y="121884"/>
                  <a:pt x="35858" y="119063"/>
                </a:cubicBezTo>
                <a:cubicBezTo>
                  <a:pt x="39081" y="114632"/>
                  <a:pt x="45528" y="110603"/>
                  <a:pt x="51169" y="104962"/>
                </a:cubicBezTo>
                <a:cubicBezTo>
                  <a:pt x="53989" y="102142"/>
                  <a:pt x="56809" y="99321"/>
                  <a:pt x="58421" y="95292"/>
                </a:cubicBezTo>
                <a:cubicBezTo>
                  <a:pt x="60032" y="91666"/>
                  <a:pt x="60838" y="86831"/>
                  <a:pt x="59629" y="81996"/>
                </a:cubicBezTo>
                <a:cubicBezTo>
                  <a:pt x="59227" y="79982"/>
                  <a:pt x="58421" y="78370"/>
                  <a:pt x="57615" y="76356"/>
                </a:cubicBezTo>
                <a:cubicBezTo>
                  <a:pt x="71314" y="70715"/>
                  <a:pt x="79372" y="55808"/>
                  <a:pt x="75745" y="40901"/>
                </a:cubicBezTo>
                <a:cubicBezTo>
                  <a:pt x="75745" y="40901"/>
                  <a:pt x="75745" y="40498"/>
                  <a:pt x="75745" y="40498"/>
                </a:cubicBezTo>
                <a:cubicBezTo>
                  <a:pt x="75745" y="40498"/>
                  <a:pt x="75745" y="40498"/>
                  <a:pt x="75745" y="40498"/>
                </a:cubicBezTo>
                <a:lnTo>
                  <a:pt x="72925" y="28411"/>
                </a:lnTo>
                <a:cubicBezTo>
                  <a:pt x="71716" y="22770"/>
                  <a:pt x="65673" y="19144"/>
                  <a:pt x="60032" y="20756"/>
                </a:cubicBezTo>
                <a:lnTo>
                  <a:pt x="58421" y="21158"/>
                </a:lnTo>
                <a:lnTo>
                  <a:pt x="58018" y="19144"/>
                </a:lnTo>
                <a:lnTo>
                  <a:pt x="48348" y="21561"/>
                </a:lnTo>
                <a:lnTo>
                  <a:pt x="48751" y="23576"/>
                </a:lnTo>
                <a:lnTo>
                  <a:pt x="32232" y="27605"/>
                </a:lnTo>
                <a:lnTo>
                  <a:pt x="31829" y="25590"/>
                </a:lnTo>
                <a:lnTo>
                  <a:pt x="22160" y="28008"/>
                </a:lnTo>
                <a:lnTo>
                  <a:pt x="22562" y="30022"/>
                </a:lnTo>
                <a:lnTo>
                  <a:pt x="21354" y="30425"/>
                </a:lnTo>
                <a:cubicBezTo>
                  <a:pt x="15713" y="31634"/>
                  <a:pt x="12087" y="37677"/>
                  <a:pt x="13699" y="43318"/>
                </a:cubicBezTo>
                <a:lnTo>
                  <a:pt x="16519" y="55405"/>
                </a:lnTo>
                <a:cubicBezTo>
                  <a:pt x="16519" y="55405"/>
                  <a:pt x="16519" y="55405"/>
                  <a:pt x="16519" y="55405"/>
                </a:cubicBezTo>
                <a:cubicBezTo>
                  <a:pt x="16519" y="55405"/>
                  <a:pt x="16519" y="55808"/>
                  <a:pt x="16519" y="55808"/>
                </a:cubicBezTo>
                <a:cubicBezTo>
                  <a:pt x="20145" y="70312"/>
                  <a:pt x="33844" y="79982"/>
                  <a:pt x="48348" y="78773"/>
                </a:cubicBezTo>
                <a:cubicBezTo>
                  <a:pt x="49557" y="81191"/>
                  <a:pt x="50363" y="82802"/>
                  <a:pt x="50766" y="84817"/>
                </a:cubicBezTo>
                <a:cubicBezTo>
                  <a:pt x="51571" y="88846"/>
                  <a:pt x="50766" y="91666"/>
                  <a:pt x="48751" y="94889"/>
                </a:cubicBezTo>
                <a:cubicBezTo>
                  <a:pt x="45528" y="99321"/>
                  <a:pt x="39484" y="103753"/>
                  <a:pt x="33441" y="108991"/>
                </a:cubicBezTo>
                <a:cubicBezTo>
                  <a:pt x="30621" y="111408"/>
                  <a:pt x="27800" y="114632"/>
                  <a:pt x="26189" y="118258"/>
                </a:cubicBezTo>
                <a:cubicBezTo>
                  <a:pt x="24577" y="121884"/>
                  <a:pt x="23771" y="126316"/>
                  <a:pt x="24980" y="131150"/>
                </a:cubicBezTo>
                <a:cubicBezTo>
                  <a:pt x="26189" y="135985"/>
                  <a:pt x="29009" y="140820"/>
                  <a:pt x="33844" y="146461"/>
                </a:cubicBezTo>
                <a:cubicBezTo>
                  <a:pt x="20951" y="153713"/>
                  <a:pt x="806" y="162577"/>
                  <a:pt x="806" y="169829"/>
                </a:cubicBezTo>
                <a:lnTo>
                  <a:pt x="806" y="173455"/>
                </a:lnTo>
                <a:lnTo>
                  <a:pt x="8461" y="173455"/>
                </a:lnTo>
                <a:cubicBezTo>
                  <a:pt x="9670" y="173455"/>
                  <a:pt x="10878" y="174664"/>
                  <a:pt x="11281" y="176276"/>
                </a:cubicBezTo>
                <a:lnTo>
                  <a:pt x="15713" y="189168"/>
                </a:lnTo>
                <a:cubicBezTo>
                  <a:pt x="16116" y="190780"/>
                  <a:pt x="15713" y="191989"/>
                  <a:pt x="14907" y="191989"/>
                </a:cubicBezTo>
                <a:lnTo>
                  <a:pt x="403" y="191989"/>
                </a:lnTo>
                <a:lnTo>
                  <a:pt x="0" y="205687"/>
                </a:lnTo>
                <a:cubicBezTo>
                  <a:pt x="0" y="215357"/>
                  <a:pt x="8058" y="223415"/>
                  <a:pt x="17728" y="223415"/>
                </a:cubicBezTo>
                <a:lnTo>
                  <a:pt x="33441" y="223415"/>
                </a:lnTo>
                <a:cubicBezTo>
                  <a:pt x="33441" y="199644"/>
                  <a:pt x="52780" y="180305"/>
                  <a:pt x="76551" y="180305"/>
                </a:cubicBezTo>
                <a:cubicBezTo>
                  <a:pt x="100323" y="180305"/>
                  <a:pt x="119662" y="199644"/>
                  <a:pt x="119662" y="223415"/>
                </a:cubicBezTo>
                <a:lnTo>
                  <a:pt x="205883" y="223415"/>
                </a:lnTo>
                <a:cubicBezTo>
                  <a:pt x="205883" y="199644"/>
                  <a:pt x="225222" y="180305"/>
                  <a:pt x="248993" y="180305"/>
                </a:cubicBezTo>
                <a:cubicBezTo>
                  <a:pt x="272764" y="180305"/>
                  <a:pt x="292104" y="199644"/>
                  <a:pt x="292104" y="223415"/>
                </a:cubicBezTo>
                <a:lnTo>
                  <a:pt x="323933" y="223415"/>
                </a:lnTo>
                <a:cubicBezTo>
                  <a:pt x="333603" y="223415"/>
                  <a:pt x="341661" y="215357"/>
                  <a:pt x="341661" y="205284"/>
                </a:cubicBezTo>
                <a:lnTo>
                  <a:pt x="341661" y="198435"/>
                </a:lnTo>
                <a:lnTo>
                  <a:pt x="328365" y="198435"/>
                </a:lnTo>
                <a:lnTo>
                  <a:pt x="328365" y="173052"/>
                </a:lnTo>
                <a:lnTo>
                  <a:pt x="331991" y="171844"/>
                </a:lnTo>
                <a:close/>
                <a:moveTo>
                  <a:pt x="45931" y="74744"/>
                </a:moveTo>
                <a:cubicBezTo>
                  <a:pt x="33844" y="75147"/>
                  <a:pt x="22160" y="67089"/>
                  <a:pt x="19339" y="54599"/>
                </a:cubicBezTo>
                <a:cubicBezTo>
                  <a:pt x="19339" y="54599"/>
                  <a:pt x="19339" y="54196"/>
                  <a:pt x="19339" y="54196"/>
                </a:cubicBezTo>
                <a:cubicBezTo>
                  <a:pt x="19339" y="54196"/>
                  <a:pt x="19339" y="54196"/>
                  <a:pt x="19339" y="54196"/>
                </a:cubicBezTo>
                <a:lnTo>
                  <a:pt x="16922" y="44527"/>
                </a:lnTo>
                <a:cubicBezTo>
                  <a:pt x="15713" y="39289"/>
                  <a:pt x="16116" y="34051"/>
                  <a:pt x="25786" y="31634"/>
                </a:cubicBezTo>
                <a:lnTo>
                  <a:pt x="26189" y="32440"/>
                </a:lnTo>
                <a:cubicBezTo>
                  <a:pt x="22965" y="34051"/>
                  <a:pt x="19339" y="37677"/>
                  <a:pt x="20951" y="43721"/>
                </a:cubicBezTo>
                <a:lnTo>
                  <a:pt x="23368" y="53391"/>
                </a:lnTo>
                <a:cubicBezTo>
                  <a:pt x="23368" y="53391"/>
                  <a:pt x="23368" y="53391"/>
                  <a:pt x="23368" y="53391"/>
                </a:cubicBezTo>
                <a:cubicBezTo>
                  <a:pt x="23368" y="53391"/>
                  <a:pt x="23368" y="53793"/>
                  <a:pt x="23368" y="53793"/>
                </a:cubicBezTo>
                <a:cubicBezTo>
                  <a:pt x="26189" y="64672"/>
                  <a:pt x="36261" y="71521"/>
                  <a:pt x="47139" y="70715"/>
                </a:cubicBezTo>
                <a:lnTo>
                  <a:pt x="45931" y="74744"/>
                </a:lnTo>
                <a:close/>
                <a:moveTo>
                  <a:pt x="157937" y="133971"/>
                </a:moveTo>
                <a:cubicBezTo>
                  <a:pt x="157937" y="138000"/>
                  <a:pt x="154311" y="141223"/>
                  <a:pt x="149879" y="141223"/>
                </a:cubicBezTo>
                <a:lnTo>
                  <a:pt x="78969" y="141223"/>
                </a:lnTo>
                <a:cubicBezTo>
                  <a:pt x="74537" y="141223"/>
                  <a:pt x="72522" y="138403"/>
                  <a:pt x="74940" y="135180"/>
                </a:cubicBezTo>
                <a:lnTo>
                  <a:pt x="93876" y="106574"/>
                </a:lnTo>
                <a:cubicBezTo>
                  <a:pt x="96294" y="103350"/>
                  <a:pt x="101531" y="100530"/>
                  <a:pt x="106366" y="100530"/>
                </a:cubicBezTo>
                <a:lnTo>
                  <a:pt x="149879" y="100530"/>
                </a:lnTo>
                <a:cubicBezTo>
                  <a:pt x="154311" y="100530"/>
                  <a:pt x="157937" y="103753"/>
                  <a:pt x="157937" y="107782"/>
                </a:cubicBezTo>
                <a:lnTo>
                  <a:pt x="157937" y="133971"/>
                </a:lnTo>
                <a:close/>
                <a:moveTo>
                  <a:pt x="239726" y="141223"/>
                </a:moveTo>
                <a:lnTo>
                  <a:pt x="177680" y="141223"/>
                </a:lnTo>
                <a:cubicBezTo>
                  <a:pt x="173651" y="141223"/>
                  <a:pt x="170427" y="138000"/>
                  <a:pt x="170427" y="133971"/>
                </a:cubicBezTo>
                <a:lnTo>
                  <a:pt x="170427" y="107379"/>
                </a:lnTo>
                <a:cubicBezTo>
                  <a:pt x="170427" y="103350"/>
                  <a:pt x="173651" y="100127"/>
                  <a:pt x="177680" y="100127"/>
                </a:cubicBezTo>
                <a:lnTo>
                  <a:pt x="215955" y="100127"/>
                </a:lnTo>
                <a:cubicBezTo>
                  <a:pt x="219984" y="100127"/>
                  <a:pt x="224819" y="102947"/>
                  <a:pt x="226834" y="106171"/>
                </a:cubicBezTo>
                <a:lnTo>
                  <a:pt x="243353" y="134777"/>
                </a:lnTo>
                <a:cubicBezTo>
                  <a:pt x="245367" y="138403"/>
                  <a:pt x="243755" y="141223"/>
                  <a:pt x="239726" y="141223"/>
                </a:cubicBezTo>
                <a:close/>
                <a:moveTo>
                  <a:pt x="249396" y="184736"/>
                </a:moveTo>
                <a:cubicBezTo>
                  <a:pt x="228848" y="184736"/>
                  <a:pt x="212329" y="201255"/>
                  <a:pt x="212329" y="221803"/>
                </a:cubicBezTo>
                <a:cubicBezTo>
                  <a:pt x="212329" y="242351"/>
                  <a:pt x="228848" y="258870"/>
                  <a:pt x="249396" y="258870"/>
                </a:cubicBezTo>
                <a:cubicBezTo>
                  <a:pt x="269944" y="258870"/>
                  <a:pt x="286463" y="242351"/>
                  <a:pt x="286463" y="221803"/>
                </a:cubicBezTo>
                <a:cubicBezTo>
                  <a:pt x="286463" y="201658"/>
                  <a:pt x="269944" y="184736"/>
                  <a:pt x="249396" y="184736"/>
                </a:cubicBezTo>
                <a:close/>
                <a:moveTo>
                  <a:pt x="249396" y="243157"/>
                </a:moveTo>
                <a:cubicBezTo>
                  <a:pt x="237712" y="243157"/>
                  <a:pt x="228445" y="233890"/>
                  <a:pt x="228445" y="222206"/>
                </a:cubicBezTo>
                <a:cubicBezTo>
                  <a:pt x="228445" y="210522"/>
                  <a:pt x="237712" y="201255"/>
                  <a:pt x="249396" y="201255"/>
                </a:cubicBezTo>
                <a:cubicBezTo>
                  <a:pt x="261080" y="201255"/>
                  <a:pt x="270347" y="210522"/>
                  <a:pt x="270347" y="222206"/>
                </a:cubicBezTo>
                <a:cubicBezTo>
                  <a:pt x="270347" y="233488"/>
                  <a:pt x="260677" y="243157"/>
                  <a:pt x="249396" y="243157"/>
                </a:cubicBezTo>
                <a:close/>
                <a:moveTo>
                  <a:pt x="18936" y="12698"/>
                </a:moveTo>
                <a:cubicBezTo>
                  <a:pt x="18131" y="9877"/>
                  <a:pt x="19742" y="7460"/>
                  <a:pt x="22562" y="6654"/>
                </a:cubicBezTo>
                <a:cubicBezTo>
                  <a:pt x="25383" y="5848"/>
                  <a:pt x="27800" y="7460"/>
                  <a:pt x="28606" y="10280"/>
                </a:cubicBezTo>
                <a:lnTo>
                  <a:pt x="31426" y="21561"/>
                </a:lnTo>
                <a:lnTo>
                  <a:pt x="21757" y="23979"/>
                </a:lnTo>
                <a:lnTo>
                  <a:pt x="18936" y="12698"/>
                </a:lnTo>
                <a:close/>
                <a:moveTo>
                  <a:pt x="44722" y="6251"/>
                </a:moveTo>
                <a:cubicBezTo>
                  <a:pt x="43916" y="3431"/>
                  <a:pt x="45528" y="1013"/>
                  <a:pt x="48348" y="207"/>
                </a:cubicBezTo>
                <a:cubicBezTo>
                  <a:pt x="51169" y="-598"/>
                  <a:pt x="53586" y="1013"/>
                  <a:pt x="54392" y="3834"/>
                </a:cubicBezTo>
                <a:lnTo>
                  <a:pt x="57212" y="15115"/>
                </a:lnTo>
                <a:lnTo>
                  <a:pt x="47542" y="17532"/>
                </a:lnTo>
                <a:lnTo>
                  <a:pt x="44722" y="6251"/>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37" name="Content Placeholder 1394">
            <a:extLst>
              <a:ext uri="{FF2B5EF4-FFF2-40B4-BE49-F238E27FC236}">
                <a16:creationId xmlns:a16="http://schemas.microsoft.com/office/drawing/2014/main" id="{81EB9A0D-B7D8-0228-7406-D2BE9F8B31D2}"/>
              </a:ext>
            </a:extLst>
          </p:cNvPr>
          <p:cNvGrpSpPr/>
          <p:nvPr/>
        </p:nvGrpSpPr>
        <p:grpSpPr>
          <a:xfrm>
            <a:off x="4579226" y="1152895"/>
            <a:ext cx="428921" cy="427168"/>
            <a:chOff x="4426247" y="1651347"/>
            <a:chExt cx="317617" cy="351330"/>
          </a:xfrm>
          <a:solidFill>
            <a:schemeClr val="tx2"/>
          </a:solidFill>
        </p:grpSpPr>
        <p:sp>
          <p:nvSpPr>
            <p:cNvPr id="41" name="Freeform 1423">
              <a:extLst>
                <a:ext uri="{FF2B5EF4-FFF2-40B4-BE49-F238E27FC236}">
                  <a16:creationId xmlns:a16="http://schemas.microsoft.com/office/drawing/2014/main" id="{7500FD41-7846-ED47-8140-E4F21554B62C}"/>
                </a:ext>
              </a:extLst>
            </p:cNvPr>
            <p:cNvSpPr/>
            <p:nvPr/>
          </p:nvSpPr>
          <p:spPr>
            <a:xfrm>
              <a:off x="4426247" y="1802032"/>
              <a:ext cx="97530" cy="200645"/>
            </a:xfrm>
            <a:custGeom>
              <a:avLst/>
              <a:gdLst>
                <a:gd name="connsiteX0" fmla="*/ 18561 w 97530"/>
                <a:gd name="connsiteY0" fmla="*/ 7655 h 200645"/>
                <a:gd name="connsiteX1" fmla="*/ 28 w 97530"/>
                <a:gd name="connsiteY1" fmla="*/ 191378 h 200645"/>
                <a:gd name="connsiteX2" fmla="*/ 8489 w 97530"/>
                <a:gd name="connsiteY2" fmla="*/ 200645 h 200645"/>
                <a:gd name="connsiteX3" fmla="*/ 97530 w 97530"/>
                <a:gd name="connsiteY3" fmla="*/ 200645 h 200645"/>
                <a:gd name="connsiteX4" fmla="*/ 77788 w 97530"/>
                <a:gd name="connsiteY4" fmla="*/ 7655 h 200645"/>
                <a:gd name="connsiteX5" fmla="*/ 69327 w 97530"/>
                <a:gd name="connsiteY5" fmla="*/ 0 h 200645"/>
                <a:gd name="connsiteX6" fmla="*/ 27022 w 97530"/>
                <a:gd name="connsiteY6" fmla="*/ 0 h 200645"/>
                <a:gd name="connsiteX7" fmla="*/ 18561 w 97530"/>
                <a:gd name="connsiteY7" fmla="*/ 7655 h 20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530" h="200645">
                  <a:moveTo>
                    <a:pt x="18561" y="7655"/>
                  </a:moveTo>
                  <a:lnTo>
                    <a:pt x="28" y="191378"/>
                  </a:lnTo>
                  <a:cubicBezTo>
                    <a:pt x="-375" y="196213"/>
                    <a:pt x="3654" y="200645"/>
                    <a:pt x="8489" y="200645"/>
                  </a:cubicBezTo>
                  <a:lnTo>
                    <a:pt x="97530" y="200645"/>
                  </a:lnTo>
                  <a:lnTo>
                    <a:pt x="77788" y="7655"/>
                  </a:lnTo>
                  <a:cubicBezTo>
                    <a:pt x="77385" y="3223"/>
                    <a:pt x="73759" y="0"/>
                    <a:pt x="69327" y="0"/>
                  </a:cubicBezTo>
                  <a:lnTo>
                    <a:pt x="27022" y="0"/>
                  </a:lnTo>
                  <a:cubicBezTo>
                    <a:pt x="22590" y="0"/>
                    <a:pt x="18964" y="3223"/>
                    <a:pt x="18561" y="7655"/>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2" name="Freeform 1424">
              <a:extLst>
                <a:ext uri="{FF2B5EF4-FFF2-40B4-BE49-F238E27FC236}">
                  <a16:creationId xmlns:a16="http://schemas.microsoft.com/office/drawing/2014/main" id="{C02FB0F8-C9D4-2026-55A5-7307F8AA86AF}"/>
                </a:ext>
              </a:extLst>
            </p:cNvPr>
            <p:cNvSpPr/>
            <p:nvPr/>
          </p:nvSpPr>
          <p:spPr>
            <a:xfrm>
              <a:off x="4525792" y="1808172"/>
              <a:ext cx="218072" cy="194505"/>
            </a:xfrm>
            <a:custGeom>
              <a:avLst/>
              <a:gdLst>
                <a:gd name="connsiteX0" fmla="*/ 182112 w 218072"/>
                <a:gd name="connsiteY0" fmla="*/ 1515 h 194505"/>
                <a:gd name="connsiteX1" fmla="*/ 132555 w 218072"/>
                <a:gd name="connsiteY1" fmla="*/ 34956 h 194505"/>
                <a:gd name="connsiteX2" fmla="*/ 128929 w 218072"/>
                <a:gd name="connsiteY2" fmla="*/ 7559 h 194505"/>
                <a:gd name="connsiteX3" fmla="*/ 115633 w 218072"/>
                <a:gd name="connsiteY3" fmla="*/ 1515 h 194505"/>
                <a:gd name="connsiteX4" fmla="*/ 66076 w 218072"/>
                <a:gd name="connsiteY4" fmla="*/ 34956 h 194505"/>
                <a:gd name="connsiteX5" fmla="*/ 62450 w 218072"/>
                <a:gd name="connsiteY5" fmla="*/ 7559 h 194505"/>
                <a:gd name="connsiteX6" fmla="*/ 49154 w 218072"/>
                <a:gd name="connsiteY6" fmla="*/ 1515 h 194505"/>
                <a:gd name="connsiteX7" fmla="*/ 0 w 218072"/>
                <a:gd name="connsiteY7" fmla="*/ 34553 h 194505"/>
                <a:gd name="connsiteX8" fmla="*/ 16116 w 218072"/>
                <a:gd name="connsiteY8" fmla="*/ 192491 h 194505"/>
                <a:gd name="connsiteX9" fmla="*/ 16519 w 218072"/>
                <a:gd name="connsiteY9" fmla="*/ 194505 h 194505"/>
                <a:gd name="connsiteX10" fmla="*/ 209509 w 218072"/>
                <a:gd name="connsiteY10" fmla="*/ 194505 h 194505"/>
                <a:gd name="connsiteX11" fmla="*/ 217970 w 218072"/>
                <a:gd name="connsiteY11" fmla="*/ 184836 h 194505"/>
                <a:gd name="connsiteX12" fmla="*/ 195004 w 218072"/>
                <a:gd name="connsiteY12" fmla="*/ 7559 h 194505"/>
                <a:gd name="connsiteX13" fmla="*/ 182112 w 218072"/>
                <a:gd name="connsiteY13" fmla="*/ 1515 h 194505"/>
                <a:gd name="connsiteX14" fmla="*/ 90250 w 218072"/>
                <a:gd name="connsiteY14" fmla="*/ 152603 h 194505"/>
                <a:gd name="connsiteX15" fmla="*/ 85415 w 218072"/>
                <a:gd name="connsiteY15" fmla="*/ 157438 h 194505"/>
                <a:gd name="connsiteX16" fmla="*/ 56003 w 218072"/>
                <a:gd name="connsiteY16" fmla="*/ 157438 h 194505"/>
                <a:gd name="connsiteX17" fmla="*/ 51169 w 218072"/>
                <a:gd name="connsiteY17" fmla="*/ 152603 h 194505"/>
                <a:gd name="connsiteX18" fmla="*/ 51169 w 218072"/>
                <a:gd name="connsiteY18" fmla="*/ 132055 h 194505"/>
                <a:gd name="connsiteX19" fmla="*/ 56003 w 218072"/>
                <a:gd name="connsiteY19" fmla="*/ 127221 h 194505"/>
                <a:gd name="connsiteX20" fmla="*/ 85415 w 218072"/>
                <a:gd name="connsiteY20" fmla="*/ 127221 h 194505"/>
                <a:gd name="connsiteX21" fmla="*/ 90250 w 218072"/>
                <a:gd name="connsiteY21" fmla="*/ 132055 h 194505"/>
                <a:gd name="connsiteX22" fmla="*/ 90250 w 218072"/>
                <a:gd name="connsiteY22" fmla="*/ 152603 h 194505"/>
                <a:gd name="connsiteX23" fmla="*/ 90250 w 218072"/>
                <a:gd name="connsiteY23" fmla="*/ 97809 h 194505"/>
                <a:gd name="connsiteX24" fmla="*/ 85415 w 218072"/>
                <a:gd name="connsiteY24" fmla="*/ 102644 h 194505"/>
                <a:gd name="connsiteX25" fmla="*/ 56003 w 218072"/>
                <a:gd name="connsiteY25" fmla="*/ 102644 h 194505"/>
                <a:gd name="connsiteX26" fmla="*/ 51169 w 218072"/>
                <a:gd name="connsiteY26" fmla="*/ 97809 h 194505"/>
                <a:gd name="connsiteX27" fmla="*/ 51169 w 218072"/>
                <a:gd name="connsiteY27" fmla="*/ 77261 h 194505"/>
                <a:gd name="connsiteX28" fmla="*/ 56003 w 218072"/>
                <a:gd name="connsiteY28" fmla="*/ 72426 h 194505"/>
                <a:gd name="connsiteX29" fmla="*/ 85415 w 218072"/>
                <a:gd name="connsiteY29" fmla="*/ 72426 h 194505"/>
                <a:gd name="connsiteX30" fmla="*/ 90250 w 218072"/>
                <a:gd name="connsiteY30" fmla="*/ 77261 h 194505"/>
                <a:gd name="connsiteX31" fmla="*/ 90250 w 218072"/>
                <a:gd name="connsiteY31" fmla="*/ 97809 h 194505"/>
                <a:gd name="connsiteX32" fmla="*/ 160355 w 218072"/>
                <a:gd name="connsiteY32" fmla="*/ 152603 h 194505"/>
                <a:gd name="connsiteX33" fmla="*/ 155520 w 218072"/>
                <a:gd name="connsiteY33" fmla="*/ 157438 h 194505"/>
                <a:gd name="connsiteX34" fmla="*/ 126108 w 218072"/>
                <a:gd name="connsiteY34" fmla="*/ 157438 h 194505"/>
                <a:gd name="connsiteX35" fmla="*/ 121273 w 218072"/>
                <a:gd name="connsiteY35" fmla="*/ 152603 h 194505"/>
                <a:gd name="connsiteX36" fmla="*/ 121273 w 218072"/>
                <a:gd name="connsiteY36" fmla="*/ 132055 h 194505"/>
                <a:gd name="connsiteX37" fmla="*/ 126108 w 218072"/>
                <a:gd name="connsiteY37" fmla="*/ 127221 h 194505"/>
                <a:gd name="connsiteX38" fmla="*/ 155520 w 218072"/>
                <a:gd name="connsiteY38" fmla="*/ 127221 h 194505"/>
                <a:gd name="connsiteX39" fmla="*/ 160355 w 218072"/>
                <a:gd name="connsiteY39" fmla="*/ 132055 h 194505"/>
                <a:gd name="connsiteX40" fmla="*/ 160355 w 218072"/>
                <a:gd name="connsiteY40" fmla="*/ 152603 h 194505"/>
                <a:gd name="connsiteX41" fmla="*/ 160355 w 218072"/>
                <a:gd name="connsiteY41" fmla="*/ 97809 h 194505"/>
                <a:gd name="connsiteX42" fmla="*/ 155520 w 218072"/>
                <a:gd name="connsiteY42" fmla="*/ 102644 h 194505"/>
                <a:gd name="connsiteX43" fmla="*/ 126108 w 218072"/>
                <a:gd name="connsiteY43" fmla="*/ 102644 h 194505"/>
                <a:gd name="connsiteX44" fmla="*/ 121273 w 218072"/>
                <a:gd name="connsiteY44" fmla="*/ 97809 h 194505"/>
                <a:gd name="connsiteX45" fmla="*/ 121273 w 218072"/>
                <a:gd name="connsiteY45" fmla="*/ 77261 h 194505"/>
                <a:gd name="connsiteX46" fmla="*/ 126108 w 218072"/>
                <a:gd name="connsiteY46" fmla="*/ 72426 h 194505"/>
                <a:gd name="connsiteX47" fmla="*/ 155520 w 218072"/>
                <a:gd name="connsiteY47" fmla="*/ 72426 h 194505"/>
                <a:gd name="connsiteX48" fmla="*/ 160355 w 218072"/>
                <a:gd name="connsiteY48" fmla="*/ 77261 h 194505"/>
                <a:gd name="connsiteX49" fmla="*/ 160355 w 218072"/>
                <a:gd name="connsiteY49" fmla="*/ 97809 h 19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8072" h="194505">
                  <a:moveTo>
                    <a:pt x="182112" y="1515"/>
                  </a:moveTo>
                  <a:lnTo>
                    <a:pt x="132555" y="34956"/>
                  </a:lnTo>
                  <a:lnTo>
                    <a:pt x="128929" y="7559"/>
                  </a:lnTo>
                  <a:cubicBezTo>
                    <a:pt x="128123" y="1112"/>
                    <a:pt x="120871" y="-2111"/>
                    <a:pt x="115633" y="1515"/>
                  </a:cubicBezTo>
                  <a:lnTo>
                    <a:pt x="66076" y="34956"/>
                  </a:lnTo>
                  <a:lnTo>
                    <a:pt x="62450" y="7559"/>
                  </a:lnTo>
                  <a:cubicBezTo>
                    <a:pt x="61644" y="1112"/>
                    <a:pt x="54392" y="-2111"/>
                    <a:pt x="49154" y="1515"/>
                  </a:cubicBezTo>
                  <a:lnTo>
                    <a:pt x="0" y="34553"/>
                  </a:lnTo>
                  <a:lnTo>
                    <a:pt x="16116" y="192491"/>
                  </a:lnTo>
                  <a:lnTo>
                    <a:pt x="16519" y="194505"/>
                  </a:lnTo>
                  <a:lnTo>
                    <a:pt x="209509" y="194505"/>
                  </a:lnTo>
                  <a:cubicBezTo>
                    <a:pt x="214747" y="194505"/>
                    <a:pt x="218776" y="190073"/>
                    <a:pt x="217970" y="184836"/>
                  </a:cubicBezTo>
                  <a:lnTo>
                    <a:pt x="195004" y="7559"/>
                  </a:lnTo>
                  <a:cubicBezTo>
                    <a:pt x="194199" y="1112"/>
                    <a:pt x="187349" y="-2111"/>
                    <a:pt x="182112" y="1515"/>
                  </a:cubicBezTo>
                  <a:close/>
                  <a:moveTo>
                    <a:pt x="90250" y="152603"/>
                  </a:moveTo>
                  <a:cubicBezTo>
                    <a:pt x="90250" y="155021"/>
                    <a:pt x="88235" y="157438"/>
                    <a:pt x="85415" y="157438"/>
                  </a:cubicBezTo>
                  <a:lnTo>
                    <a:pt x="56003" y="157438"/>
                  </a:lnTo>
                  <a:cubicBezTo>
                    <a:pt x="53586" y="157438"/>
                    <a:pt x="51169" y="155424"/>
                    <a:pt x="51169" y="152603"/>
                  </a:cubicBezTo>
                  <a:lnTo>
                    <a:pt x="51169" y="132055"/>
                  </a:lnTo>
                  <a:cubicBezTo>
                    <a:pt x="51169" y="129638"/>
                    <a:pt x="53183" y="127221"/>
                    <a:pt x="56003" y="127221"/>
                  </a:cubicBezTo>
                  <a:lnTo>
                    <a:pt x="85415" y="127221"/>
                  </a:lnTo>
                  <a:cubicBezTo>
                    <a:pt x="87833" y="127221"/>
                    <a:pt x="90250" y="129235"/>
                    <a:pt x="90250" y="132055"/>
                  </a:cubicBezTo>
                  <a:lnTo>
                    <a:pt x="90250" y="152603"/>
                  </a:lnTo>
                  <a:close/>
                  <a:moveTo>
                    <a:pt x="90250" y="97809"/>
                  </a:moveTo>
                  <a:cubicBezTo>
                    <a:pt x="90250" y="100226"/>
                    <a:pt x="88235" y="102644"/>
                    <a:pt x="85415" y="102644"/>
                  </a:cubicBezTo>
                  <a:lnTo>
                    <a:pt x="56003" y="102644"/>
                  </a:lnTo>
                  <a:cubicBezTo>
                    <a:pt x="53586" y="102644"/>
                    <a:pt x="51169" y="100629"/>
                    <a:pt x="51169" y="97809"/>
                  </a:cubicBezTo>
                  <a:lnTo>
                    <a:pt x="51169" y="77261"/>
                  </a:lnTo>
                  <a:cubicBezTo>
                    <a:pt x="51169" y="74843"/>
                    <a:pt x="53183" y="72426"/>
                    <a:pt x="56003" y="72426"/>
                  </a:cubicBezTo>
                  <a:lnTo>
                    <a:pt x="85415" y="72426"/>
                  </a:lnTo>
                  <a:cubicBezTo>
                    <a:pt x="87833" y="72426"/>
                    <a:pt x="90250" y="74440"/>
                    <a:pt x="90250" y="77261"/>
                  </a:cubicBezTo>
                  <a:lnTo>
                    <a:pt x="90250" y="97809"/>
                  </a:lnTo>
                  <a:close/>
                  <a:moveTo>
                    <a:pt x="160355" y="152603"/>
                  </a:moveTo>
                  <a:cubicBezTo>
                    <a:pt x="160355" y="155021"/>
                    <a:pt x="158340" y="157438"/>
                    <a:pt x="155520" y="157438"/>
                  </a:cubicBezTo>
                  <a:lnTo>
                    <a:pt x="126108" y="157438"/>
                  </a:lnTo>
                  <a:cubicBezTo>
                    <a:pt x="123691" y="157438"/>
                    <a:pt x="121273" y="155424"/>
                    <a:pt x="121273" y="152603"/>
                  </a:cubicBezTo>
                  <a:lnTo>
                    <a:pt x="121273" y="132055"/>
                  </a:lnTo>
                  <a:cubicBezTo>
                    <a:pt x="121273" y="129638"/>
                    <a:pt x="123288" y="127221"/>
                    <a:pt x="126108" y="127221"/>
                  </a:cubicBezTo>
                  <a:lnTo>
                    <a:pt x="155520" y="127221"/>
                  </a:lnTo>
                  <a:cubicBezTo>
                    <a:pt x="157938" y="127221"/>
                    <a:pt x="160355" y="129235"/>
                    <a:pt x="160355" y="132055"/>
                  </a:cubicBezTo>
                  <a:lnTo>
                    <a:pt x="160355" y="152603"/>
                  </a:lnTo>
                  <a:close/>
                  <a:moveTo>
                    <a:pt x="160355" y="97809"/>
                  </a:moveTo>
                  <a:cubicBezTo>
                    <a:pt x="160355" y="100226"/>
                    <a:pt x="158340" y="102644"/>
                    <a:pt x="155520" y="102644"/>
                  </a:cubicBezTo>
                  <a:lnTo>
                    <a:pt x="126108" y="102644"/>
                  </a:lnTo>
                  <a:cubicBezTo>
                    <a:pt x="123691" y="102644"/>
                    <a:pt x="121273" y="100629"/>
                    <a:pt x="121273" y="97809"/>
                  </a:cubicBezTo>
                  <a:lnTo>
                    <a:pt x="121273" y="77261"/>
                  </a:lnTo>
                  <a:cubicBezTo>
                    <a:pt x="121273" y="74843"/>
                    <a:pt x="123288" y="72426"/>
                    <a:pt x="126108" y="72426"/>
                  </a:cubicBezTo>
                  <a:lnTo>
                    <a:pt x="155520" y="72426"/>
                  </a:lnTo>
                  <a:cubicBezTo>
                    <a:pt x="157938" y="72426"/>
                    <a:pt x="160355" y="74440"/>
                    <a:pt x="160355" y="77261"/>
                  </a:cubicBezTo>
                  <a:lnTo>
                    <a:pt x="160355" y="97809"/>
                  </a:ln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3" name="Freeform 1425">
              <a:extLst>
                <a:ext uri="{FF2B5EF4-FFF2-40B4-BE49-F238E27FC236}">
                  <a16:creationId xmlns:a16="http://schemas.microsoft.com/office/drawing/2014/main" id="{28BFEF8A-C0E9-48E9-4EED-1EF393EF1154}"/>
                </a:ext>
              </a:extLst>
            </p:cNvPr>
            <p:cNvSpPr/>
            <p:nvPr/>
          </p:nvSpPr>
          <p:spPr>
            <a:xfrm>
              <a:off x="4469385" y="1651347"/>
              <a:ext cx="191378" cy="138334"/>
            </a:xfrm>
            <a:custGeom>
              <a:avLst/>
              <a:gdLst>
                <a:gd name="connsiteX0" fmla="*/ 79774 w 191378"/>
                <a:gd name="connsiteY0" fmla="*/ 105963 h 138334"/>
                <a:gd name="connsiteX1" fmla="*/ 106769 w 191378"/>
                <a:gd name="connsiteY1" fmla="*/ 89041 h 138334"/>
                <a:gd name="connsiteX2" fmla="*/ 121676 w 191378"/>
                <a:gd name="connsiteY2" fmla="*/ 93070 h 138334"/>
                <a:gd name="connsiteX3" fmla="*/ 150282 w 191378"/>
                <a:gd name="connsiteY3" fmla="*/ 71717 h 138334"/>
                <a:gd name="connsiteX4" fmla="*/ 161161 w 191378"/>
                <a:gd name="connsiteY4" fmla="*/ 73731 h 138334"/>
                <a:gd name="connsiteX5" fmla="*/ 191378 w 191378"/>
                <a:gd name="connsiteY5" fmla="*/ 43513 h 138334"/>
                <a:gd name="connsiteX6" fmla="*/ 161161 w 191378"/>
                <a:gd name="connsiteY6" fmla="*/ 13296 h 138334"/>
                <a:gd name="connsiteX7" fmla="*/ 151088 w 191378"/>
                <a:gd name="connsiteY7" fmla="*/ 14907 h 138334"/>
                <a:gd name="connsiteX8" fmla="*/ 125302 w 191378"/>
                <a:gd name="connsiteY8" fmla="*/ 0 h 138334"/>
                <a:gd name="connsiteX9" fmla="*/ 102740 w 191378"/>
                <a:gd name="connsiteY9" fmla="*/ 10475 h 138334"/>
                <a:gd name="connsiteX10" fmla="*/ 82595 w 191378"/>
                <a:gd name="connsiteY10" fmla="*/ 2820 h 138334"/>
                <a:gd name="connsiteX11" fmla="*/ 54392 w 191378"/>
                <a:gd name="connsiteY11" fmla="*/ 22160 h 138334"/>
                <a:gd name="connsiteX12" fmla="*/ 48348 w 191378"/>
                <a:gd name="connsiteY12" fmla="*/ 21757 h 138334"/>
                <a:gd name="connsiteX13" fmla="*/ 18131 w 191378"/>
                <a:gd name="connsiteY13" fmla="*/ 51974 h 138334"/>
                <a:gd name="connsiteX14" fmla="*/ 18936 w 191378"/>
                <a:gd name="connsiteY14" fmla="*/ 58421 h 138334"/>
                <a:gd name="connsiteX15" fmla="*/ 2820 w 191378"/>
                <a:gd name="connsiteY15" fmla="*/ 85012 h 138334"/>
                <a:gd name="connsiteX16" fmla="*/ 6849 w 191378"/>
                <a:gd name="connsiteY16" fmla="*/ 100322 h 138334"/>
                <a:gd name="connsiteX17" fmla="*/ 0 w 191378"/>
                <a:gd name="connsiteY17" fmla="*/ 131749 h 138334"/>
                <a:gd name="connsiteX18" fmla="*/ 12490 w 191378"/>
                <a:gd name="connsiteY18" fmla="*/ 134569 h 138334"/>
                <a:gd name="connsiteX19" fmla="*/ 26592 w 191378"/>
                <a:gd name="connsiteY19" fmla="*/ 114827 h 138334"/>
                <a:gd name="connsiteX20" fmla="*/ 32635 w 191378"/>
                <a:gd name="connsiteY20" fmla="*/ 115633 h 138334"/>
                <a:gd name="connsiteX21" fmla="*/ 59227 w 191378"/>
                <a:gd name="connsiteY21" fmla="*/ 99517 h 138334"/>
                <a:gd name="connsiteX22" fmla="*/ 79774 w 191378"/>
                <a:gd name="connsiteY22" fmla="*/ 105963 h 13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1378" h="138334">
                  <a:moveTo>
                    <a:pt x="79774" y="105963"/>
                  </a:moveTo>
                  <a:cubicBezTo>
                    <a:pt x="91862" y="105963"/>
                    <a:pt x="101934" y="99114"/>
                    <a:pt x="106769" y="89041"/>
                  </a:cubicBezTo>
                  <a:cubicBezTo>
                    <a:pt x="111201" y="91459"/>
                    <a:pt x="116036" y="93070"/>
                    <a:pt x="121676" y="93070"/>
                  </a:cubicBezTo>
                  <a:cubicBezTo>
                    <a:pt x="135375" y="93070"/>
                    <a:pt x="146656" y="83804"/>
                    <a:pt x="150282" y="71717"/>
                  </a:cubicBezTo>
                  <a:cubicBezTo>
                    <a:pt x="153506" y="72925"/>
                    <a:pt x="157132" y="73731"/>
                    <a:pt x="161161" y="73731"/>
                  </a:cubicBezTo>
                  <a:cubicBezTo>
                    <a:pt x="177680" y="73731"/>
                    <a:pt x="191378" y="60032"/>
                    <a:pt x="191378" y="43513"/>
                  </a:cubicBezTo>
                  <a:cubicBezTo>
                    <a:pt x="191378" y="26994"/>
                    <a:pt x="177680" y="13296"/>
                    <a:pt x="161161" y="13296"/>
                  </a:cubicBezTo>
                  <a:cubicBezTo>
                    <a:pt x="157535" y="13296"/>
                    <a:pt x="154311" y="14102"/>
                    <a:pt x="151088" y="14907"/>
                  </a:cubicBezTo>
                  <a:cubicBezTo>
                    <a:pt x="145850" y="6044"/>
                    <a:pt x="136181" y="0"/>
                    <a:pt x="125302" y="0"/>
                  </a:cubicBezTo>
                  <a:cubicBezTo>
                    <a:pt x="116439" y="0"/>
                    <a:pt x="108381" y="4029"/>
                    <a:pt x="102740" y="10475"/>
                  </a:cubicBezTo>
                  <a:cubicBezTo>
                    <a:pt x="97502" y="5641"/>
                    <a:pt x="90250" y="2820"/>
                    <a:pt x="82595" y="2820"/>
                  </a:cubicBezTo>
                  <a:cubicBezTo>
                    <a:pt x="69702" y="2820"/>
                    <a:pt x="58824" y="10878"/>
                    <a:pt x="54392" y="22160"/>
                  </a:cubicBezTo>
                  <a:cubicBezTo>
                    <a:pt x="52377" y="21757"/>
                    <a:pt x="50363" y="21757"/>
                    <a:pt x="48348" y="21757"/>
                  </a:cubicBezTo>
                  <a:cubicBezTo>
                    <a:pt x="31829" y="21757"/>
                    <a:pt x="18131" y="35455"/>
                    <a:pt x="18131" y="51974"/>
                  </a:cubicBezTo>
                  <a:cubicBezTo>
                    <a:pt x="18131" y="54392"/>
                    <a:pt x="18534" y="56406"/>
                    <a:pt x="18936" y="58421"/>
                  </a:cubicBezTo>
                  <a:cubicBezTo>
                    <a:pt x="9267" y="63659"/>
                    <a:pt x="2820" y="73328"/>
                    <a:pt x="2820" y="85012"/>
                  </a:cubicBezTo>
                  <a:cubicBezTo>
                    <a:pt x="2820" y="90653"/>
                    <a:pt x="4432" y="95488"/>
                    <a:pt x="6849" y="100322"/>
                  </a:cubicBezTo>
                  <a:cubicBezTo>
                    <a:pt x="3223" y="109589"/>
                    <a:pt x="403" y="120468"/>
                    <a:pt x="0" y="131749"/>
                  </a:cubicBezTo>
                  <a:cubicBezTo>
                    <a:pt x="0" y="138598"/>
                    <a:pt x="9267" y="141016"/>
                    <a:pt x="12490" y="134569"/>
                  </a:cubicBezTo>
                  <a:cubicBezTo>
                    <a:pt x="15713" y="128123"/>
                    <a:pt x="20145" y="120871"/>
                    <a:pt x="26592" y="114827"/>
                  </a:cubicBezTo>
                  <a:cubicBezTo>
                    <a:pt x="28606" y="115230"/>
                    <a:pt x="30621" y="115633"/>
                    <a:pt x="32635" y="115633"/>
                  </a:cubicBezTo>
                  <a:cubicBezTo>
                    <a:pt x="44319" y="115633"/>
                    <a:pt x="53989" y="109186"/>
                    <a:pt x="59227" y="99517"/>
                  </a:cubicBezTo>
                  <a:cubicBezTo>
                    <a:pt x="65270" y="103143"/>
                    <a:pt x="72119" y="105963"/>
                    <a:pt x="79774" y="105963"/>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38" name="Freeform 1400">
            <a:extLst>
              <a:ext uri="{FF2B5EF4-FFF2-40B4-BE49-F238E27FC236}">
                <a16:creationId xmlns:a16="http://schemas.microsoft.com/office/drawing/2014/main" id="{0CCD975F-9F55-35F1-A899-0A9AF416F50C}"/>
              </a:ext>
            </a:extLst>
          </p:cNvPr>
          <p:cNvSpPr/>
          <p:nvPr/>
        </p:nvSpPr>
        <p:spPr>
          <a:xfrm>
            <a:off x="8098473" y="2105857"/>
            <a:ext cx="424159" cy="427585"/>
          </a:xfrm>
          <a:custGeom>
            <a:avLst/>
            <a:gdLst>
              <a:gd name="connsiteX0" fmla="*/ 70376 w 332262"/>
              <a:gd name="connsiteY0" fmla="*/ 248436 h 318138"/>
              <a:gd name="connsiteX1" fmla="*/ 137661 w 332262"/>
              <a:gd name="connsiteY1" fmla="*/ 248436 h 318138"/>
              <a:gd name="connsiteX2" fmla="*/ 137661 w 332262"/>
              <a:gd name="connsiteY2" fmla="*/ 300410 h 318138"/>
              <a:gd name="connsiteX3" fmla="*/ 39756 w 332262"/>
              <a:gd name="connsiteY3" fmla="*/ 300410 h 318138"/>
              <a:gd name="connsiteX4" fmla="*/ 70376 w 332262"/>
              <a:gd name="connsiteY4" fmla="*/ 248436 h 318138"/>
              <a:gd name="connsiteX5" fmla="*/ 96565 w 332262"/>
              <a:gd name="connsiteY5" fmla="*/ 207340 h 318138"/>
              <a:gd name="connsiteX6" fmla="*/ 90924 w 332262"/>
              <a:gd name="connsiteY6" fmla="*/ 138847 h 318138"/>
              <a:gd name="connsiteX7" fmla="*/ 22834 w 332262"/>
              <a:gd name="connsiteY7" fmla="*/ 163827 h 318138"/>
              <a:gd name="connsiteX8" fmla="*/ 39353 w 332262"/>
              <a:gd name="connsiteY8" fmla="*/ 173496 h 318138"/>
              <a:gd name="connsiteX9" fmla="*/ 8733 w 332262"/>
              <a:gd name="connsiteY9" fmla="*/ 222650 h 318138"/>
              <a:gd name="connsiteX10" fmla="*/ 22431 w 332262"/>
              <a:gd name="connsiteY10" fmla="*/ 299202 h 318138"/>
              <a:gd name="connsiteX11" fmla="*/ 24043 w 332262"/>
              <a:gd name="connsiteY11" fmla="*/ 300410 h 318138"/>
              <a:gd name="connsiteX12" fmla="*/ 81658 w 332262"/>
              <a:gd name="connsiteY12" fmla="*/ 198476 h 318138"/>
              <a:gd name="connsiteX13" fmla="*/ 96565 w 332262"/>
              <a:gd name="connsiteY13" fmla="*/ 207340 h 318138"/>
              <a:gd name="connsiteX14" fmla="*/ 78031 w 332262"/>
              <a:gd name="connsiteY14" fmla="*/ 105003 h 318138"/>
              <a:gd name="connsiteX15" fmla="*/ 123559 w 332262"/>
              <a:gd name="connsiteY15" fmla="*/ 129983 h 318138"/>
              <a:gd name="connsiteX16" fmla="*/ 156194 w 332262"/>
              <a:gd name="connsiteY16" fmla="*/ 71159 h 318138"/>
              <a:gd name="connsiteX17" fmla="*/ 125574 w 332262"/>
              <a:gd name="connsiteY17" fmla="*/ 19185 h 318138"/>
              <a:gd name="connsiteX18" fmla="*/ 78031 w 332262"/>
              <a:gd name="connsiteY18" fmla="*/ 105003 h 318138"/>
              <a:gd name="connsiteX19" fmla="*/ 179563 w 332262"/>
              <a:gd name="connsiteY19" fmla="*/ 114270 h 318138"/>
              <a:gd name="connsiteX20" fmla="*/ 242415 w 332262"/>
              <a:gd name="connsiteY20" fmla="*/ 142473 h 318138"/>
              <a:gd name="connsiteX21" fmla="*/ 253294 w 332262"/>
              <a:gd name="connsiteY21" fmla="*/ 70756 h 318138"/>
              <a:gd name="connsiteX22" fmla="*/ 236775 w 332262"/>
              <a:gd name="connsiteY22" fmla="*/ 80426 h 318138"/>
              <a:gd name="connsiteX23" fmla="*/ 208572 w 332262"/>
              <a:gd name="connsiteY23" fmla="*/ 29660 h 318138"/>
              <a:gd name="connsiteX24" fmla="*/ 135243 w 332262"/>
              <a:gd name="connsiteY24" fmla="*/ 4681 h 318138"/>
              <a:gd name="connsiteX25" fmla="*/ 133229 w 332262"/>
              <a:gd name="connsiteY25" fmla="*/ 5486 h 318138"/>
              <a:gd name="connsiteX26" fmla="*/ 194873 w 332262"/>
              <a:gd name="connsiteY26" fmla="*/ 105406 h 318138"/>
              <a:gd name="connsiteX27" fmla="*/ 179563 w 332262"/>
              <a:gd name="connsiteY27" fmla="*/ 114270 h 318138"/>
              <a:gd name="connsiteX28" fmla="*/ 263769 w 332262"/>
              <a:gd name="connsiteY28" fmla="*/ 233932 h 318138"/>
              <a:gd name="connsiteX29" fmla="*/ 324204 w 332262"/>
              <a:gd name="connsiteY29" fmla="*/ 234334 h 318138"/>
              <a:gd name="connsiteX30" fmla="*/ 275050 w 332262"/>
              <a:gd name="connsiteY30" fmla="*/ 149725 h 318138"/>
              <a:gd name="connsiteX31" fmla="*/ 229925 w 332262"/>
              <a:gd name="connsiteY31" fmla="*/ 175914 h 318138"/>
              <a:gd name="connsiteX32" fmla="*/ 263769 w 332262"/>
              <a:gd name="connsiteY32" fmla="*/ 233932 h 318138"/>
              <a:gd name="connsiteX33" fmla="*/ 215018 w 332262"/>
              <a:gd name="connsiteY33" fmla="*/ 249645 h 318138"/>
              <a:gd name="connsiteX34" fmla="*/ 215018 w 332262"/>
              <a:gd name="connsiteY34" fmla="*/ 232320 h 318138"/>
              <a:gd name="connsiteX35" fmla="*/ 158612 w 332262"/>
              <a:gd name="connsiteY35" fmla="*/ 271804 h 318138"/>
              <a:gd name="connsiteX36" fmla="*/ 214615 w 332262"/>
              <a:gd name="connsiteY36" fmla="*/ 318138 h 318138"/>
              <a:gd name="connsiteX37" fmla="*/ 214615 w 332262"/>
              <a:gd name="connsiteY37" fmla="*/ 298799 h 318138"/>
              <a:gd name="connsiteX38" fmla="*/ 272633 w 332262"/>
              <a:gd name="connsiteY38" fmla="*/ 300410 h 318138"/>
              <a:gd name="connsiteX39" fmla="*/ 331859 w 332262"/>
              <a:gd name="connsiteY39" fmla="*/ 250048 h 318138"/>
              <a:gd name="connsiteX40" fmla="*/ 332262 w 332262"/>
              <a:gd name="connsiteY40" fmla="*/ 248033 h 318138"/>
              <a:gd name="connsiteX41" fmla="*/ 215018 w 332262"/>
              <a:gd name="connsiteY41" fmla="*/ 249645 h 31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2262" h="318138">
                <a:moveTo>
                  <a:pt x="70376" y="248436"/>
                </a:moveTo>
                <a:lnTo>
                  <a:pt x="137661" y="248436"/>
                </a:lnTo>
                <a:lnTo>
                  <a:pt x="137661" y="300410"/>
                </a:lnTo>
                <a:lnTo>
                  <a:pt x="39756" y="300410"/>
                </a:lnTo>
                <a:lnTo>
                  <a:pt x="70376" y="248436"/>
                </a:lnTo>
                <a:close/>
                <a:moveTo>
                  <a:pt x="96565" y="207340"/>
                </a:moveTo>
                <a:lnTo>
                  <a:pt x="90924" y="138847"/>
                </a:lnTo>
                <a:lnTo>
                  <a:pt x="22834" y="163827"/>
                </a:lnTo>
                <a:lnTo>
                  <a:pt x="39353" y="173496"/>
                </a:lnTo>
                <a:lnTo>
                  <a:pt x="8733" y="222650"/>
                </a:lnTo>
                <a:cubicBezTo>
                  <a:pt x="-6981" y="248033"/>
                  <a:pt x="-937" y="280668"/>
                  <a:pt x="22431" y="299202"/>
                </a:cubicBezTo>
                <a:lnTo>
                  <a:pt x="24043" y="300410"/>
                </a:lnTo>
                <a:lnTo>
                  <a:pt x="81658" y="198476"/>
                </a:lnTo>
                <a:lnTo>
                  <a:pt x="96565" y="207340"/>
                </a:lnTo>
                <a:close/>
                <a:moveTo>
                  <a:pt x="78031" y="105003"/>
                </a:moveTo>
                <a:lnTo>
                  <a:pt x="123559" y="129983"/>
                </a:lnTo>
                <a:lnTo>
                  <a:pt x="156194" y="71159"/>
                </a:lnTo>
                <a:lnTo>
                  <a:pt x="125574" y="19185"/>
                </a:lnTo>
                <a:lnTo>
                  <a:pt x="78031" y="105003"/>
                </a:lnTo>
                <a:close/>
                <a:moveTo>
                  <a:pt x="179563" y="114270"/>
                </a:moveTo>
                <a:lnTo>
                  <a:pt x="242415" y="142473"/>
                </a:lnTo>
                <a:lnTo>
                  <a:pt x="253294" y="70756"/>
                </a:lnTo>
                <a:lnTo>
                  <a:pt x="236775" y="80426"/>
                </a:lnTo>
                <a:lnTo>
                  <a:pt x="208572" y="29660"/>
                </a:lnTo>
                <a:cubicBezTo>
                  <a:pt x="194067" y="3875"/>
                  <a:pt x="162641" y="-7004"/>
                  <a:pt x="135243" y="4681"/>
                </a:cubicBezTo>
                <a:lnTo>
                  <a:pt x="133229" y="5486"/>
                </a:lnTo>
                <a:lnTo>
                  <a:pt x="194873" y="105406"/>
                </a:lnTo>
                <a:lnTo>
                  <a:pt x="179563" y="114270"/>
                </a:lnTo>
                <a:close/>
                <a:moveTo>
                  <a:pt x="263769" y="233932"/>
                </a:moveTo>
                <a:lnTo>
                  <a:pt x="324204" y="234334"/>
                </a:lnTo>
                <a:lnTo>
                  <a:pt x="275050" y="149725"/>
                </a:lnTo>
                <a:lnTo>
                  <a:pt x="229925" y="175914"/>
                </a:lnTo>
                <a:lnTo>
                  <a:pt x="263769" y="233932"/>
                </a:lnTo>
                <a:close/>
                <a:moveTo>
                  <a:pt x="215018" y="249645"/>
                </a:moveTo>
                <a:lnTo>
                  <a:pt x="215018" y="232320"/>
                </a:lnTo>
                <a:lnTo>
                  <a:pt x="158612" y="271804"/>
                </a:lnTo>
                <a:lnTo>
                  <a:pt x="214615" y="318138"/>
                </a:lnTo>
                <a:lnTo>
                  <a:pt x="214615" y="298799"/>
                </a:lnTo>
                <a:lnTo>
                  <a:pt x="272633" y="300410"/>
                </a:lnTo>
                <a:cubicBezTo>
                  <a:pt x="302448" y="301216"/>
                  <a:pt x="327830" y="279460"/>
                  <a:pt x="331859" y="250048"/>
                </a:cubicBezTo>
                <a:lnTo>
                  <a:pt x="332262" y="248033"/>
                </a:lnTo>
                <a:lnTo>
                  <a:pt x="215018" y="249645"/>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 name="Freeform 1480">
            <a:extLst>
              <a:ext uri="{FF2B5EF4-FFF2-40B4-BE49-F238E27FC236}">
                <a16:creationId xmlns:a16="http://schemas.microsoft.com/office/drawing/2014/main" id="{2CF8E562-F560-20AF-EC36-50E7559B0801}"/>
              </a:ext>
            </a:extLst>
          </p:cNvPr>
          <p:cNvSpPr/>
          <p:nvPr/>
        </p:nvSpPr>
        <p:spPr>
          <a:xfrm>
            <a:off x="8073423" y="1207721"/>
            <a:ext cx="428921" cy="427167"/>
          </a:xfrm>
          <a:custGeom>
            <a:avLst/>
            <a:gdLst>
              <a:gd name="connsiteX0" fmla="*/ 806 w 295326"/>
              <a:gd name="connsiteY0" fmla="*/ 216358 h 294118"/>
              <a:gd name="connsiteX1" fmla="*/ 93070 w 295326"/>
              <a:gd name="connsiteY1" fmla="*/ 216358 h 294118"/>
              <a:gd name="connsiteX2" fmla="*/ 93070 w 295326"/>
              <a:gd name="connsiteY2" fmla="*/ 149074 h 294118"/>
              <a:gd name="connsiteX3" fmla="*/ 119259 w 295326"/>
              <a:gd name="connsiteY3" fmla="*/ 149074 h 294118"/>
              <a:gd name="connsiteX4" fmla="*/ 124094 w 295326"/>
              <a:gd name="connsiteY4" fmla="*/ 18534 h 294118"/>
              <a:gd name="connsiteX5" fmla="*/ 152297 w 295326"/>
              <a:gd name="connsiteY5" fmla="*/ 18534 h 294118"/>
              <a:gd name="connsiteX6" fmla="*/ 157132 w 295326"/>
              <a:gd name="connsiteY6" fmla="*/ 149074 h 294118"/>
              <a:gd name="connsiteX7" fmla="*/ 183320 w 295326"/>
              <a:gd name="connsiteY7" fmla="*/ 149074 h 294118"/>
              <a:gd name="connsiteX8" fmla="*/ 183320 w 295326"/>
              <a:gd name="connsiteY8" fmla="*/ 106769 h 294118"/>
              <a:gd name="connsiteX9" fmla="*/ 204271 w 295326"/>
              <a:gd name="connsiteY9" fmla="*/ 106769 h 294118"/>
              <a:gd name="connsiteX10" fmla="*/ 209106 w 295326"/>
              <a:gd name="connsiteY10" fmla="*/ 0 h 294118"/>
              <a:gd name="connsiteX11" fmla="*/ 236100 w 295326"/>
              <a:gd name="connsiteY11" fmla="*/ 0 h 294118"/>
              <a:gd name="connsiteX12" fmla="*/ 240935 w 295326"/>
              <a:gd name="connsiteY12" fmla="*/ 106769 h 294118"/>
              <a:gd name="connsiteX13" fmla="*/ 263498 w 295326"/>
              <a:gd name="connsiteY13" fmla="*/ 106769 h 294118"/>
              <a:gd name="connsiteX14" fmla="*/ 263498 w 295326"/>
              <a:gd name="connsiteY14" fmla="*/ 149074 h 294118"/>
              <a:gd name="connsiteX15" fmla="*/ 280823 w 295326"/>
              <a:gd name="connsiteY15" fmla="*/ 149074 h 294118"/>
              <a:gd name="connsiteX16" fmla="*/ 280823 w 295326"/>
              <a:gd name="connsiteY16" fmla="*/ 216358 h 294118"/>
              <a:gd name="connsiteX17" fmla="*/ 295327 w 295326"/>
              <a:gd name="connsiteY17" fmla="*/ 216358 h 294118"/>
              <a:gd name="connsiteX18" fmla="*/ 295327 w 295326"/>
              <a:gd name="connsiteY18" fmla="*/ 294118 h 294118"/>
              <a:gd name="connsiteX19" fmla="*/ 0 w 295326"/>
              <a:gd name="connsiteY19" fmla="*/ 294118 h 294118"/>
              <a:gd name="connsiteX20" fmla="*/ 806 w 295326"/>
              <a:gd name="connsiteY20" fmla="*/ 216358 h 294118"/>
              <a:gd name="connsiteX21" fmla="*/ 806 w 295326"/>
              <a:gd name="connsiteY21" fmla="*/ 216358 h 294118"/>
              <a:gd name="connsiteX22" fmla="*/ 123691 w 295326"/>
              <a:gd name="connsiteY22" fmla="*/ 176471 h 294118"/>
              <a:gd name="connsiteX23" fmla="*/ 141016 w 295326"/>
              <a:gd name="connsiteY23" fmla="*/ 176471 h 294118"/>
              <a:gd name="connsiteX24" fmla="*/ 141016 w 295326"/>
              <a:gd name="connsiteY24" fmla="*/ 193796 h 294118"/>
              <a:gd name="connsiteX25" fmla="*/ 123691 w 295326"/>
              <a:gd name="connsiteY25" fmla="*/ 193796 h 294118"/>
              <a:gd name="connsiteX26" fmla="*/ 123691 w 295326"/>
              <a:gd name="connsiteY26" fmla="*/ 176471 h 294118"/>
              <a:gd name="connsiteX27" fmla="*/ 123691 w 295326"/>
              <a:gd name="connsiteY27" fmla="*/ 176471 h 294118"/>
              <a:gd name="connsiteX28" fmla="*/ 153103 w 295326"/>
              <a:gd name="connsiteY28" fmla="*/ 176471 h 294118"/>
              <a:gd name="connsiteX29" fmla="*/ 170427 w 295326"/>
              <a:gd name="connsiteY29" fmla="*/ 176471 h 294118"/>
              <a:gd name="connsiteX30" fmla="*/ 170427 w 295326"/>
              <a:gd name="connsiteY30" fmla="*/ 193796 h 294118"/>
              <a:gd name="connsiteX31" fmla="*/ 153103 w 295326"/>
              <a:gd name="connsiteY31" fmla="*/ 193796 h 294118"/>
              <a:gd name="connsiteX32" fmla="*/ 153103 w 295326"/>
              <a:gd name="connsiteY32" fmla="*/ 176471 h 294118"/>
              <a:gd name="connsiteX33" fmla="*/ 153103 w 295326"/>
              <a:gd name="connsiteY33" fmla="*/ 176471 h 294118"/>
              <a:gd name="connsiteX34" fmla="*/ 181709 w 295326"/>
              <a:gd name="connsiteY34" fmla="*/ 176471 h 294118"/>
              <a:gd name="connsiteX35" fmla="*/ 199033 w 295326"/>
              <a:gd name="connsiteY35" fmla="*/ 176471 h 294118"/>
              <a:gd name="connsiteX36" fmla="*/ 199033 w 295326"/>
              <a:gd name="connsiteY36" fmla="*/ 193796 h 294118"/>
              <a:gd name="connsiteX37" fmla="*/ 181709 w 295326"/>
              <a:gd name="connsiteY37" fmla="*/ 193796 h 294118"/>
              <a:gd name="connsiteX38" fmla="*/ 181709 w 295326"/>
              <a:gd name="connsiteY38" fmla="*/ 176471 h 294118"/>
              <a:gd name="connsiteX39" fmla="*/ 181709 w 295326"/>
              <a:gd name="connsiteY39" fmla="*/ 176471 h 294118"/>
              <a:gd name="connsiteX40" fmla="*/ 238518 w 295326"/>
              <a:gd name="connsiteY40" fmla="*/ 176471 h 294118"/>
              <a:gd name="connsiteX41" fmla="*/ 255843 w 295326"/>
              <a:gd name="connsiteY41" fmla="*/ 176471 h 294118"/>
              <a:gd name="connsiteX42" fmla="*/ 255843 w 295326"/>
              <a:gd name="connsiteY42" fmla="*/ 193796 h 294118"/>
              <a:gd name="connsiteX43" fmla="*/ 238518 w 295326"/>
              <a:gd name="connsiteY43" fmla="*/ 193796 h 294118"/>
              <a:gd name="connsiteX44" fmla="*/ 238518 w 295326"/>
              <a:gd name="connsiteY44" fmla="*/ 176471 h 294118"/>
              <a:gd name="connsiteX45" fmla="*/ 238518 w 295326"/>
              <a:gd name="connsiteY45" fmla="*/ 176471 h 294118"/>
              <a:gd name="connsiteX46" fmla="*/ 209106 w 295326"/>
              <a:gd name="connsiteY46" fmla="*/ 176471 h 294118"/>
              <a:gd name="connsiteX47" fmla="*/ 226431 w 295326"/>
              <a:gd name="connsiteY47" fmla="*/ 176471 h 294118"/>
              <a:gd name="connsiteX48" fmla="*/ 226431 w 295326"/>
              <a:gd name="connsiteY48" fmla="*/ 193796 h 294118"/>
              <a:gd name="connsiteX49" fmla="*/ 209106 w 295326"/>
              <a:gd name="connsiteY49" fmla="*/ 193796 h 294118"/>
              <a:gd name="connsiteX50" fmla="*/ 209106 w 295326"/>
              <a:gd name="connsiteY50" fmla="*/ 176471 h 294118"/>
              <a:gd name="connsiteX51" fmla="*/ 209106 w 295326"/>
              <a:gd name="connsiteY51" fmla="*/ 176471 h 294118"/>
              <a:gd name="connsiteX52" fmla="*/ 28606 w 295326"/>
              <a:gd name="connsiteY52" fmla="*/ 244158 h 294118"/>
              <a:gd name="connsiteX53" fmla="*/ 53586 w 295326"/>
              <a:gd name="connsiteY53" fmla="*/ 244158 h 294118"/>
              <a:gd name="connsiteX54" fmla="*/ 53586 w 295326"/>
              <a:gd name="connsiteY54" fmla="*/ 269138 h 294118"/>
              <a:gd name="connsiteX55" fmla="*/ 28606 w 295326"/>
              <a:gd name="connsiteY55" fmla="*/ 269138 h 294118"/>
              <a:gd name="connsiteX56" fmla="*/ 28606 w 295326"/>
              <a:gd name="connsiteY56" fmla="*/ 244158 h 294118"/>
              <a:gd name="connsiteX57" fmla="*/ 28606 w 295326"/>
              <a:gd name="connsiteY57" fmla="*/ 244158 h 294118"/>
              <a:gd name="connsiteX58" fmla="*/ 70911 w 295326"/>
              <a:gd name="connsiteY58" fmla="*/ 244158 h 294118"/>
              <a:gd name="connsiteX59" fmla="*/ 95891 w 295326"/>
              <a:gd name="connsiteY59" fmla="*/ 244158 h 294118"/>
              <a:gd name="connsiteX60" fmla="*/ 95891 w 295326"/>
              <a:gd name="connsiteY60" fmla="*/ 269138 h 294118"/>
              <a:gd name="connsiteX61" fmla="*/ 70911 w 295326"/>
              <a:gd name="connsiteY61" fmla="*/ 269138 h 294118"/>
              <a:gd name="connsiteX62" fmla="*/ 70911 w 295326"/>
              <a:gd name="connsiteY62" fmla="*/ 244158 h 294118"/>
              <a:gd name="connsiteX63" fmla="*/ 70911 w 295326"/>
              <a:gd name="connsiteY63" fmla="*/ 244158 h 294118"/>
              <a:gd name="connsiteX64" fmla="*/ 112410 w 295326"/>
              <a:gd name="connsiteY64" fmla="*/ 244158 h 294118"/>
              <a:gd name="connsiteX65" fmla="*/ 137390 w 295326"/>
              <a:gd name="connsiteY65" fmla="*/ 244158 h 294118"/>
              <a:gd name="connsiteX66" fmla="*/ 137390 w 295326"/>
              <a:gd name="connsiteY66" fmla="*/ 269138 h 294118"/>
              <a:gd name="connsiteX67" fmla="*/ 112410 w 295326"/>
              <a:gd name="connsiteY67" fmla="*/ 269138 h 294118"/>
              <a:gd name="connsiteX68" fmla="*/ 112410 w 295326"/>
              <a:gd name="connsiteY68" fmla="*/ 244158 h 294118"/>
              <a:gd name="connsiteX69" fmla="*/ 112410 w 295326"/>
              <a:gd name="connsiteY69" fmla="*/ 244158 h 294118"/>
              <a:gd name="connsiteX70" fmla="*/ 194601 w 295326"/>
              <a:gd name="connsiteY70" fmla="*/ 244158 h 294118"/>
              <a:gd name="connsiteX71" fmla="*/ 219581 w 295326"/>
              <a:gd name="connsiteY71" fmla="*/ 244158 h 294118"/>
              <a:gd name="connsiteX72" fmla="*/ 219581 w 295326"/>
              <a:gd name="connsiteY72" fmla="*/ 269138 h 294118"/>
              <a:gd name="connsiteX73" fmla="*/ 194601 w 295326"/>
              <a:gd name="connsiteY73" fmla="*/ 269138 h 294118"/>
              <a:gd name="connsiteX74" fmla="*/ 194601 w 295326"/>
              <a:gd name="connsiteY74" fmla="*/ 244158 h 294118"/>
              <a:gd name="connsiteX75" fmla="*/ 194601 w 295326"/>
              <a:gd name="connsiteY75" fmla="*/ 244158 h 294118"/>
              <a:gd name="connsiteX76" fmla="*/ 151894 w 295326"/>
              <a:gd name="connsiteY76" fmla="*/ 244158 h 294118"/>
              <a:gd name="connsiteX77" fmla="*/ 176874 w 295326"/>
              <a:gd name="connsiteY77" fmla="*/ 244158 h 294118"/>
              <a:gd name="connsiteX78" fmla="*/ 176874 w 295326"/>
              <a:gd name="connsiteY78" fmla="*/ 269138 h 294118"/>
              <a:gd name="connsiteX79" fmla="*/ 151894 w 295326"/>
              <a:gd name="connsiteY79" fmla="*/ 269138 h 294118"/>
              <a:gd name="connsiteX80" fmla="*/ 151894 w 295326"/>
              <a:gd name="connsiteY80" fmla="*/ 244158 h 294118"/>
              <a:gd name="connsiteX81" fmla="*/ 151894 w 295326"/>
              <a:gd name="connsiteY81" fmla="*/ 244158 h 29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95326" h="294118">
                <a:moveTo>
                  <a:pt x="806" y="216358"/>
                </a:moveTo>
                <a:lnTo>
                  <a:pt x="93070" y="216358"/>
                </a:lnTo>
                <a:lnTo>
                  <a:pt x="93070" y="149074"/>
                </a:lnTo>
                <a:lnTo>
                  <a:pt x="119259" y="149074"/>
                </a:lnTo>
                <a:lnTo>
                  <a:pt x="124094" y="18534"/>
                </a:lnTo>
                <a:lnTo>
                  <a:pt x="152297" y="18534"/>
                </a:lnTo>
                <a:lnTo>
                  <a:pt x="157132" y="149074"/>
                </a:lnTo>
                <a:lnTo>
                  <a:pt x="183320" y="149074"/>
                </a:lnTo>
                <a:lnTo>
                  <a:pt x="183320" y="106769"/>
                </a:lnTo>
                <a:lnTo>
                  <a:pt x="204271" y="106769"/>
                </a:lnTo>
                <a:lnTo>
                  <a:pt x="209106" y="0"/>
                </a:lnTo>
                <a:lnTo>
                  <a:pt x="236100" y="0"/>
                </a:lnTo>
                <a:lnTo>
                  <a:pt x="240935" y="106769"/>
                </a:lnTo>
                <a:lnTo>
                  <a:pt x="263498" y="106769"/>
                </a:lnTo>
                <a:lnTo>
                  <a:pt x="263498" y="149074"/>
                </a:lnTo>
                <a:lnTo>
                  <a:pt x="280823" y="149074"/>
                </a:lnTo>
                <a:lnTo>
                  <a:pt x="280823" y="216358"/>
                </a:lnTo>
                <a:lnTo>
                  <a:pt x="295327" y="216358"/>
                </a:lnTo>
                <a:lnTo>
                  <a:pt x="295327" y="294118"/>
                </a:lnTo>
                <a:lnTo>
                  <a:pt x="0" y="294118"/>
                </a:lnTo>
                <a:lnTo>
                  <a:pt x="806" y="216358"/>
                </a:lnTo>
                <a:lnTo>
                  <a:pt x="806" y="216358"/>
                </a:lnTo>
                <a:close/>
                <a:moveTo>
                  <a:pt x="123691" y="176471"/>
                </a:moveTo>
                <a:lnTo>
                  <a:pt x="141016" y="176471"/>
                </a:lnTo>
                <a:lnTo>
                  <a:pt x="141016" y="193796"/>
                </a:lnTo>
                <a:lnTo>
                  <a:pt x="123691" y="193796"/>
                </a:lnTo>
                <a:lnTo>
                  <a:pt x="123691" y="176471"/>
                </a:lnTo>
                <a:lnTo>
                  <a:pt x="123691" y="176471"/>
                </a:lnTo>
                <a:close/>
                <a:moveTo>
                  <a:pt x="153103" y="176471"/>
                </a:moveTo>
                <a:lnTo>
                  <a:pt x="170427" y="176471"/>
                </a:lnTo>
                <a:lnTo>
                  <a:pt x="170427" y="193796"/>
                </a:lnTo>
                <a:lnTo>
                  <a:pt x="153103" y="193796"/>
                </a:lnTo>
                <a:lnTo>
                  <a:pt x="153103" y="176471"/>
                </a:lnTo>
                <a:lnTo>
                  <a:pt x="153103" y="176471"/>
                </a:lnTo>
                <a:close/>
                <a:moveTo>
                  <a:pt x="181709" y="176471"/>
                </a:moveTo>
                <a:lnTo>
                  <a:pt x="199033" y="176471"/>
                </a:lnTo>
                <a:lnTo>
                  <a:pt x="199033" y="193796"/>
                </a:lnTo>
                <a:lnTo>
                  <a:pt x="181709" y="193796"/>
                </a:lnTo>
                <a:lnTo>
                  <a:pt x="181709" y="176471"/>
                </a:lnTo>
                <a:lnTo>
                  <a:pt x="181709" y="176471"/>
                </a:lnTo>
                <a:close/>
                <a:moveTo>
                  <a:pt x="238518" y="176471"/>
                </a:moveTo>
                <a:lnTo>
                  <a:pt x="255843" y="176471"/>
                </a:lnTo>
                <a:lnTo>
                  <a:pt x="255843" y="193796"/>
                </a:lnTo>
                <a:lnTo>
                  <a:pt x="238518" y="193796"/>
                </a:lnTo>
                <a:lnTo>
                  <a:pt x="238518" y="176471"/>
                </a:lnTo>
                <a:lnTo>
                  <a:pt x="238518" y="176471"/>
                </a:lnTo>
                <a:close/>
                <a:moveTo>
                  <a:pt x="209106" y="176471"/>
                </a:moveTo>
                <a:lnTo>
                  <a:pt x="226431" y="176471"/>
                </a:lnTo>
                <a:lnTo>
                  <a:pt x="226431" y="193796"/>
                </a:lnTo>
                <a:lnTo>
                  <a:pt x="209106" y="193796"/>
                </a:lnTo>
                <a:lnTo>
                  <a:pt x="209106" y="176471"/>
                </a:lnTo>
                <a:lnTo>
                  <a:pt x="209106" y="176471"/>
                </a:lnTo>
                <a:close/>
                <a:moveTo>
                  <a:pt x="28606" y="244158"/>
                </a:moveTo>
                <a:lnTo>
                  <a:pt x="53586" y="244158"/>
                </a:lnTo>
                <a:lnTo>
                  <a:pt x="53586" y="269138"/>
                </a:lnTo>
                <a:lnTo>
                  <a:pt x="28606" y="269138"/>
                </a:lnTo>
                <a:lnTo>
                  <a:pt x="28606" y="244158"/>
                </a:lnTo>
                <a:lnTo>
                  <a:pt x="28606" y="244158"/>
                </a:lnTo>
                <a:close/>
                <a:moveTo>
                  <a:pt x="70911" y="244158"/>
                </a:moveTo>
                <a:lnTo>
                  <a:pt x="95891" y="244158"/>
                </a:lnTo>
                <a:lnTo>
                  <a:pt x="95891" y="269138"/>
                </a:lnTo>
                <a:lnTo>
                  <a:pt x="70911" y="269138"/>
                </a:lnTo>
                <a:lnTo>
                  <a:pt x="70911" y="244158"/>
                </a:lnTo>
                <a:lnTo>
                  <a:pt x="70911" y="244158"/>
                </a:lnTo>
                <a:close/>
                <a:moveTo>
                  <a:pt x="112410" y="244158"/>
                </a:moveTo>
                <a:lnTo>
                  <a:pt x="137390" y="244158"/>
                </a:lnTo>
                <a:lnTo>
                  <a:pt x="137390" y="269138"/>
                </a:lnTo>
                <a:lnTo>
                  <a:pt x="112410" y="269138"/>
                </a:lnTo>
                <a:lnTo>
                  <a:pt x="112410" y="244158"/>
                </a:lnTo>
                <a:lnTo>
                  <a:pt x="112410" y="244158"/>
                </a:lnTo>
                <a:close/>
                <a:moveTo>
                  <a:pt x="194601" y="244158"/>
                </a:moveTo>
                <a:lnTo>
                  <a:pt x="219581" y="244158"/>
                </a:lnTo>
                <a:lnTo>
                  <a:pt x="219581" y="269138"/>
                </a:lnTo>
                <a:lnTo>
                  <a:pt x="194601" y="269138"/>
                </a:lnTo>
                <a:lnTo>
                  <a:pt x="194601" y="244158"/>
                </a:lnTo>
                <a:lnTo>
                  <a:pt x="194601" y="244158"/>
                </a:lnTo>
                <a:close/>
                <a:moveTo>
                  <a:pt x="151894" y="244158"/>
                </a:moveTo>
                <a:lnTo>
                  <a:pt x="176874" y="244158"/>
                </a:lnTo>
                <a:lnTo>
                  <a:pt x="176874" y="269138"/>
                </a:lnTo>
                <a:lnTo>
                  <a:pt x="151894" y="269138"/>
                </a:lnTo>
                <a:lnTo>
                  <a:pt x="151894" y="244158"/>
                </a:lnTo>
                <a:lnTo>
                  <a:pt x="151894" y="244158"/>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9" name="Content Placeholder 1394">
            <a:extLst>
              <a:ext uri="{FF2B5EF4-FFF2-40B4-BE49-F238E27FC236}">
                <a16:creationId xmlns:a16="http://schemas.microsoft.com/office/drawing/2014/main" id="{0F31927D-AED5-FE11-6616-4889C7CFDA73}"/>
              </a:ext>
            </a:extLst>
          </p:cNvPr>
          <p:cNvGrpSpPr/>
          <p:nvPr/>
        </p:nvGrpSpPr>
        <p:grpSpPr>
          <a:xfrm>
            <a:off x="4484363" y="2020633"/>
            <a:ext cx="564678" cy="484512"/>
            <a:chOff x="8241921" y="4659386"/>
            <a:chExt cx="388800" cy="333602"/>
          </a:xfrm>
          <a:solidFill>
            <a:schemeClr val="tx2"/>
          </a:solidFill>
        </p:grpSpPr>
        <p:sp>
          <p:nvSpPr>
            <p:cNvPr id="15" name="Freeform 1427">
              <a:extLst>
                <a:ext uri="{FF2B5EF4-FFF2-40B4-BE49-F238E27FC236}">
                  <a16:creationId xmlns:a16="http://schemas.microsoft.com/office/drawing/2014/main" id="{5A3FBBEB-0037-D01E-4E5A-55BFD9E7D112}"/>
                </a:ext>
              </a:extLst>
            </p:cNvPr>
            <p:cNvSpPr/>
            <p:nvPr/>
          </p:nvSpPr>
          <p:spPr>
            <a:xfrm>
              <a:off x="8303162" y="4824575"/>
              <a:ext cx="118452" cy="86623"/>
            </a:xfrm>
            <a:custGeom>
              <a:avLst/>
              <a:gdLst>
                <a:gd name="connsiteX0" fmla="*/ 12087 w 118452"/>
                <a:gd name="connsiteY0" fmla="*/ 0 h 86623"/>
                <a:gd name="connsiteX1" fmla="*/ 0 w 118452"/>
                <a:gd name="connsiteY1" fmla="*/ 12087 h 86623"/>
                <a:gd name="connsiteX2" fmla="*/ 0 w 118452"/>
                <a:gd name="connsiteY2" fmla="*/ 74537 h 86623"/>
                <a:gd name="connsiteX3" fmla="*/ 12087 w 118452"/>
                <a:gd name="connsiteY3" fmla="*/ 86624 h 86623"/>
                <a:gd name="connsiteX4" fmla="*/ 106366 w 118452"/>
                <a:gd name="connsiteY4" fmla="*/ 86624 h 86623"/>
                <a:gd name="connsiteX5" fmla="*/ 118453 w 118452"/>
                <a:gd name="connsiteY5" fmla="*/ 74537 h 86623"/>
                <a:gd name="connsiteX6" fmla="*/ 118453 w 118452"/>
                <a:gd name="connsiteY6" fmla="*/ 12087 h 86623"/>
                <a:gd name="connsiteX7" fmla="*/ 106366 w 118452"/>
                <a:gd name="connsiteY7" fmla="*/ 0 h 86623"/>
                <a:gd name="connsiteX8" fmla="*/ 69702 w 118452"/>
                <a:gd name="connsiteY8" fmla="*/ 0 h 86623"/>
                <a:gd name="connsiteX9" fmla="*/ 69702 w 118452"/>
                <a:gd name="connsiteY9" fmla="*/ 18534 h 86623"/>
                <a:gd name="connsiteX10" fmla="*/ 59227 w 118452"/>
                <a:gd name="connsiteY10" fmla="*/ 29009 h 86623"/>
                <a:gd name="connsiteX11" fmla="*/ 48751 w 118452"/>
                <a:gd name="connsiteY11" fmla="*/ 18534 h 86623"/>
                <a:gd name="connsiteX12" fmla="*/ 48751 w 118452"/>
                <a:gd name="connsiteY12" fmla="*/ 0 h 86623"/>
                <a:gd name="connsiteX13" fmla="*/ 12087 w 118452"/>
                <a:gd name="connsiteY13" fmla="*/ 0 h 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52" h="86623">
                  <a:moveTo>
                    <a:pt x="12087" y="0"/>
                  </a:moveTo>
                  <a:cubicBezTo>
                    <a:pt x="5238" y="0"/>
                    <a:pt x="0" y="5641"/>
                    <a:pt x="0" y="12087"/>
                  </a:cubicBezTo>
                  <a:lnTo>
                    <a:pt x="0" y="74537"/>
                  </a:lnTo>
                  <a:cubicBezTo>
                    <a:pt x="0" y="81386"/>
                    <a:pt x="5640" y="86624"/>
                    <a:pt x="12087" y="86624"/>
                  </a:cubicBezTo>
                  <a:lnTo>
                    <a:pt x="106366" y="86624"/>
                  </a:lnTo>
                  <a:cubicBezTo>
                    <a:pt x="113215" y="86624"/>
                    <a:pt x="118453" y="80983"/>
                    <a:pt x="118453" y="74537"/>
                  </a:cubicBezTo>
                  <a:lnTo>
                    <a:pt x="118453" y="12087"/>
                  </a:lnTo>
                  <a:cubicBezTo>
                    <a:pt x="118453" y="5238"/>
                    <a:pt x="112812" y="0"/>
                    <a:pt x="106366" y="0"/>
                  </a:cubicBezTo>
                  <a:lnTo>
                    <a:pt x="69702" y="0"/>
                  </a:lnTo>
                  <a:lnTo>
                    <a:pt x="69702" y="18534"/>
                  </a:lnTo>
                  <a:cubicBezTo>
                    <a:pt x="69702" y="24174"/>
                    <a:pt x="64867" y="29009"/>
                    <a:pt x="59227" y="29009"/>
                  </a:cubicBezTo>
                  <a:cubicBezTo>
                    <a:pt x="53586" y="29009"/>
                    <a:pt x="48751" y="24174"/>
                    <a:pt x="48751" y="18534"/>
                  </a:cubicBezTo>
                  <a:lnTo>
                    <a:pt x="48751" y="0"/>
                  </a:lnTo>
                  <a:lnTo>
                    <a:pt x="12087" y="0"/>
                  </a:ln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 name="Freeform 1428">
              <a:extLst>
                <a:ext uri="{FF2B5EF4-FFF2-40B4-BE49-F238E27FC236}">
                  <a16:creationId xmlns:a16="http://schemas.microsoft.com/office/drawing/2014/main" id="{557BF909-FFE7-5787-251E-AEA2F58BB2E9}"/>
                </a:ext>
              </a:extLst>
            </p:cNvPr>
            <p:cNvSpPr/>
            <p:nvPr/>
          </p:nvSpPr>
          <p:spPr>
            <a:xfrm>
              <a:off x="8451430" y="4824575"/>
              <a:ext cx="118453" cy="86623"/>
            </a:xfrm>
            <a:custGeom>
              <a:avLst/>
              <a:gdLst>
                <a:gd name="connsiteX0" fmla="*/ 12087 w 118453"/>
                <a:gd name="connsiteY0" fmla="*/ 0 h 86623"/>
                <a:gd name="connsiteX1" fmla="*/ 0 w 118453"/>
                <a:gd name="connsiteY1" fmla="*/ 12087 h 86623"/>
                <a:gd name="connsiteX2" fmla="*/ 0 w 118453"/>
                <a:gd name="connsiteY2" fmla="*/ 74537 h 86623"/>
                <a:gd name="connsiteX3" fmla="*/ 12087 w 118453"/>
                <a:gd name="connsiteY3" fmla="*/ 86624 h 86623"/>
                <a:gd name="connsiteX4" fmla="*/ 106366 w 118453"/>
                <a:gd name="connsiteY4" fmla="*/ 86624 h 86623"/>
                <a:gd name="connsiteX5" fmla="*/ 118453 w 118453"/>
                <a:gd name="connsiteY5" fmla="*/ 74537 h 86623"/>
                <a:gd name="connsiteX6" fmla="*/ 118453 w 118453"/>
                <a:gd name="connsiteY6" fmla="*/ 12087 h 86623"/>
                <a:gd name="connsiteX7" fmla="*/ 106366 w 118453"/>
                <a:gd name="connsiteY7" fmla="*/ 0 h 86623"/>
                <a:gd name="connsiteX8" fmla="*/ 69702 w 118453"/>
                <a:gd name="connsiteY8" fmla="*/ 0 h 86623"/>
                <a:gd name="connsiteX9" fmla="*/ 69702 w 118453"/>
                <a:gd name="connsiteY9" fmla="*/ 18534 h 86623"/>
                <a:gd name="connsiteX10" fmla="*/ 59227 w 118453"/>
                <a:gd name="connsiteY10" fmla="*/ 29009 h 86623"/>
                <a:gd name="connsiteX11" fmla="*/ 48751 w 118453"/>
                <a:gd name="connsiteY11" fmla="*/ 18534 h 86623"/>
                <a:gd name="connsiteX12" fmla="*/ 48751 w 118453"/>
                <a:gd name="connsiteY12" fmla="*/ 0 h 86623"/>
                <a:gd name="connsiteX13" fmla="*/ 12087 w 118453"/>
                <a:gd name="connsiteY13" fmla="*/ 0 h 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53" h="86623">
                  <a:moveTo>
                    <a:pt x="12087" y="0"/>
                  </a:moveTo>
                  <a:cubicBezTo>
                    <a:pt x="5238" y="0"/>
                    <a:pt x="0" y="5641"/>
                    <a:pt x="0" y="12087"/>
                  </a:cubicBezTo>
                  <a:lnTo>
                    <a:pt x="0" y="74537"/>
                  </a:lnTo>
                  <a:cubicBezTo>
                    <a:pt x="0" y="81386"/>
                    <a:pt x="5641" y="86624"/>
                    <a:pt x="12087" y="86624"/>
                  </a:cubicBezTo>
                  <a:lnTo>
                    <a:pt x="106366" y="86624"/>
                  </a:lnTo>
                  <a:cubicBezTo>
                    <a:pt x="113215" y="86624"/>
                    <a:pt x="118453" y="80983"/>
                    <a:pt x="118453" y="74537"/>
                  </a:cubicBezTo>
                  <a:lnTo>
                    <a:pt x="118453" y="12087"/>
                  </a:lnTo>
                  <a:cubicBezTo>
                    <a:pt x="118453" y="5238"/>
                    <a:pt x="112812" y="0"/>
                    <a:pt x="106366" y="0"/>
                  </a:cubicBezTo>
                  <a:lnTo>
                    <a:pt x="69702" y="0"/>
                  </a:lnTo>
                  <a:lnTo>
                    <a:pt x="69702" y="18534"/>
                  </a:lnTo>
                  <a:cubicBezTo>
                    <a:pt x="69702" y="24174"/>
                    <a:pt x="64867" y="29009"/>
                    <a:pt x="59227" y="29009"/>
                  </a:cubicBezTo>
                  <a:cubicBezTo>
                    <a:pt x="53586" y="29009"/>
                    <a:pt x="48751" y="24174"/>
                    <a:pt x="48751" y="18534"/>
                  </a:cubicBezTo>
                  <a:lnTo>
                    <a:pt x="48751" y="0"/>
                  </a:lnTo>
                  <a:lnTo>
                    <a:pt x="12087" y="0"/>
                  </a:ln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3" name="Freeform 1429">
              <a:extLst>
                <a:ext uri="{FF2B5EF4-FFF2-40B4-BE49-F238E27FC236}">
                  <a16:creationId xmlns:a16="http://schemas.microsoft.com/office/drawing/2014/main" id="{3FFC1FD8-7FA5-2CE5-7E11-66CBC8A35175}"/>
                </a:ext>
              </a:extLst>
            </p:cNvPr>
            <p:cNvSpPr/>
            <p:nvPr/>
          </p:nvSpPr>
          <p:spPr>
            <a:xfrm>
              <a:off x="8241921" y="4929330"/>
              <a:ext cx="388800" cy="63658"/>
            </a:xfrm>
            <a:custGeom>
              <a:avLst/>
              <a:gdLst>
                <a:gd name="connsiteX0" fmla="*/ 356971 w 388800"/>
                <a:gd name="connsiteY0" fmla="*/ 0 h 63658"/>
                <a:gd name="connsiteX1" fmla="*/ 31829 w 388800"/>
                <a:gd name="connsiteY1" fmla="*/ 0 h 63658"/>
                <a:gd name="connsiteX2" fmla="*/ 0 w 388800"/>
                <a:gd name="connsiteY2" fmla="*/ 31829 h 63658"/>
                <a:gd name="connsiteX3" fmla="*/ 31829 w 388800"/>
                <a:gd name="connsiteY3" fmla="*/ 63658 h 63658"/>
                <a:gd name="connsiteX4" fmla="*/ 356971 w 388800"/>
                <a:gd name="connsiteY4" fmla="*/ 63658 h 63658"/>
                <a:gd name="connsiteX5" fmla="*/ 388800 w 388800"/>
                <a:gd name="connsiteY5" fmla="*/ 31829 h 63658"/>
                <a:gd name="connsiteX6" fmla="*/ 356971 w 388800"/>
                <a:gd name="connsiteY6" fmla="*/ 0 h 63658"/>
                <a:gd name="connsiteX7" fmla="*/ 31829 w 388800"/>
                <a:gd name="connsiteY7" fmla="*/ 45528 h 63658"/>
                <a:gd name="connsiteX8" fmla="*/ 18131 w 388800"/>
                <a:gd name="connsiteY8" fmla="*/ 31829 h 63658"/>
                <a:gd name="connsiteX9" fmla="*/ 31829 w 388800"/>
                <a:gd name="connsiteY9" fmla="*/ 18131 h 63658"/>
                <a:gd name="connsiteX10" fmla="*/ 45528 w 388800"/>
                <a:gd name="connsiteY10" fmla="*/ 31829 h 63658"/>
                <a:gd name="connsiteX11" fmla="*/ 31829 w 388800"/>
                <a:gd name="connsiteY11" fmla="*/ 45528 h 63658"/>
                <a:gd name="connsiteX12" fmla="*/ 78566 w 388800"/>
                <a:gd name="connsiteY12" fmla="*/ 45528 h 63658"/>
                <a:gd name="connsiteX13" fmla="*/ 64867 w 388800"/>
                <a:gd name="connsiteY13" fmla="*/ 31829 h 63658"/>
                <a:gd name="connsiteX14" fmla="*/ 78566 w 388800"/>
                <a:gd name="connsiteY14" fmla="*/ 18131 h 63658"/>
                <a:gd name="connsiteX15" fmla="*/ 92265 w 388800"/>
                <a:gd name="connsiteY15" fmla="*/ 31829 h 63658"/>
                <a:gd name="connsiteX16" fmla="*/ 78566 w 388800"/>
                <a:gd name="connsiteY16" fmla="*/ 45528 h 63658"/>
                <a:gd name="connsiteX17" fmla="*/ 124900 w 388800"/>
                <a:gd name="connsiteY17" fmla="*/ 45528 h 63658"/>
                <a:gd name="connsiteX18" fmla="*/ 111201 w 388800"/>
                <a:gd name="connsiteY18" fmla="*/ 31829 h 63658"/>
                <a:gd name="connsiteX19" fmla="*/ 124900 w 388800"/>
                <a:gd name="connsiteY19" fmla="*/ 18131 h 63658"/>
                <a:gd name="connsiteX20" fmla="*/ 138598 w 388800"/>
                <a:gd name="connsiteY20" fmla="*/ 31829 h 63658"/>
                <a:gd name="connsiteX21" fmla="*/ 124900 w 388800"/>
                <a:gd name="connsiteY21" fmla="*/ 45528 h 63658"/>
                <a:gd name="connsiteX22" fmla="*/ 171233 w 388800"/>
                <a:gd name="connsiteY22" fmla="*/ 45528 h 63658"/>
                <a:gd name="connsiteX23" fmla="*/ 157534 w 388800"/>
                <a:gd name="connsiteY23" fmla="*/ 31829 h 63658"/>
                <a:gd name="connsiteX24" fmla="*/ 171233 w 388800"/>
                <a:gd name="connsiteY24" fmla="*/ 18131 h 63658"/>
                <a:gd name="connsiteX25" fmla="*/ 184932 w 388800"/>
                <a:gd name="connsiteY25" fmla="*/ 31829 h 63658"/>
                <a:gd name="connsiteX26" fmla="*/ 171233 w 388800"/>
                <a:gd name="connsiteY26" fmla="*/ 45528 h 63658"/>
                <a:gd name="connsiteX27" fmla="*/ 217970 w 388800"/>
                <a:gd name="connsiteY27" fmla="*/ 45528 h 63658"/>
                <a:gd name="connsiteX28" fmla="*/ 204271 w 388800"/>
                <a:gd name="connsiteY28" fmla="*/ 31829 h 63658"/>
                <a:gd name="connsiteX29" fmla="*/ 217970 w 388800"/>
                <a:gd name="connsiteY29" fmla="*/ 18131 h 63658"/>
                <a:gd name="connsiteX30" fmla="*/ 231668 w 388800"/>
                <a:gd name="connsiteY30" fmla="*/ 31829 h 63658"/>
                <a:gd name="connsiteX31" fmla="*/ 217970 w 388800"/>
                <a:gd name="connsiteY31" fmla="*/ 45528 h 63658"/>
                <a:gd name="connsiteX32" fmla="*/ 264303 w 388800"/>
                <a:gd name="connsiteY32" fmla="*/ 45528 h 63658"/>
                <a:gd name="connsiteX33" fmla="*/ 250605 w 388800"/>
                <a:gd name="connsiteY33" fmla="*/ 31829 h 63658"/>
                <a:gd name="connsiteX34" fmla="*/ 264303 w 388800"/>
                <a:gd name="connsiteY34" fmla="*/ 18131 h 63658"/>
                <a:gd name="connsiteX35" fmla="*/ 278002 w 388800"/>
                <a:gd name="connsiteY35" fmla="*/ 31829 h 63658"/>
                <a:gd name="connsiteX36" fmla="*/ 264303 w 388800"/>
                <a:gd name="connsiteY36" fmla="*/ 45528 h 63658"/>
                <a:gd name="connsiteX37" fmla="*/ 310637 w 388800"/>
                <a:gd name="connsiteY37" fmla="*/ 45528 h 63658"/>
                <a:gd name="connsiteX38" fmla="*/ 296939 w 388800"/>
                <a:gd name="connsiteY38" fmla="*/ 31829 h 63658"/>
                <a:gd name="connsiteX39" fmla="*/ 310637 w 388800"/>
                <a:gd name="connsiteY39" fmla="*/ 18131 h 63658"/>
                <a:gd name="connsiteX40" fmla="*/ 324336 w 388800"/>
                <a:gd name="connsiteY40" fmla="*/ 31829 h 63658"/>
                <a:gd name="connsiteX41" fmla="*/ 310637 w 388800"/>
                <a:gd name="connsiteY41" fmla="*/ 45528 h 63658"/>
                <a:gd name="connsiteX42" fmla="*/ 356971 w 388800"/>
                <a:gd name="connsiteY42" fmla="*/ 45528 h 63658"/>
                <a:gd name="connsiteX43" fmla="*/ 343272 w 388800"/>
                <a:gd name="connsiteY43" fmla="*/ 31829 h 63658"/>
                <a:gd name="connsiteX44" fmla="*/ 356971 w 388800"/>
                <a:gd name="connsiteY44" fmla="*/ 18131 h 63658"/>
                <a:gd name="connsiteX45" fmla="*/ 370670 w 388800"/>
                <a:gd name="connsiteY45" fmla="*/ 31829 h 63658"/>
                <a:gd name="connsiteX46" fmla="*/ 356971 w 388800"/>
                <a:gd name="connsiteY46" fmla="*/ 45528 h 6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8800" h="63658">
                  <a:moveTo>
                    <a:pt x="356971" y="0"/>
                  </a:moveTo>
                  <a:lnTo>
                    <a:pt x="31829" y="0"/>
                  </a:lnTo>
                  <a:cubicBezTo>
                    <a:pt x="14504" y="0"/>
                    <a:pt x="0" y="14102"/>
                    <a:pt x="0" y="31829"/>
                  </a:cubicBezTo>
                  <a:cubicBezTo>
                    <a:pt x="0" y="49557"/>
                    <a:pt x="14102" y="63658"/>
                    <a:pt x="31829" y="63658"/>
                  </a:cubicBezTo>
                  <a:lnTo>
                    <a:pt x="356971" y="63658"/>
                  </a:lnTo>
                  <a:cubicBezTo>
                    <a:pt x="374296" y="63658"/>
                    <a:pt x="388800" y="49557"/>
                    <a:pt x="388800" y="31829"/>
                  </a:cubicBezTo>
                  <a:cubicBezTo>
                    <a:pt x="388800" y="14504"/>
                    <a:pt x="374699" y="0"/>
                    <a:pt x="356971" y="0"/>
                  </a:cubicBezTo>
                  <a:close/>
                  <a:moveTo>
                    <a:pt x="31829" y="45528"/>
                  </a:moveTo>
                  <a:cubicBezTo>
                    <a:pt x="24174" y="45528"/>
                    <a:pt x="18131" y="39484"/>
                    <a:pt x="18131" y="31829"/>
                  </a:cubicBezTo>
                  <a:cubicBezTo>
                    <a:pt x="18131" y="24174"/>
                    <a:pt x="24174" y="18131"/>
                    <a:pt x="31829" y="18131"/>
                  </a:cubicBezTo>
                  <a:cubicBezTo>
                    <a:pt x="39484" y="18131"/>
                    <a:pt x="45528" y="24174"/>
                    <a:pt x="45528" y="31829"/>
                  </a:cubicBezTo>
                  <a:cubicBezTo>
                    <a:pt x="45931" y="39484"/>
                    <a:pt x="39484" y="45528"/>
                    <a:pt x="31829" y="45528"/>
                  </a:cubicBezTo>
                  <a:close/>
                  <a:moveTo>
                    <a:pt x="78566" y="45528"/>
                  </a:moveTo>
                  <a:cubicBezTo>
                    <a:pt x="70911" y="45528"/>
                    <a:pt x="64867" y="39484"/>
                    <a:pt x="64867" y="31829"/>
                  </a:cubicBezTo>
                  <a:cubicBezTo>
                    <a:pt x="64867" y="24174"/>
                    <a:pt x="70911" y="18131"/>
                    <a:pt x="78566" y="18131"/>
                  </a:cubicBezTo>
                  <a:cubicBezTo>
                    <a:pt x="86221" y="18131"/>
                    <a:pt x="92265" y="24174"/>
                    <a:pt x="92265" y="31829"/>
                  </a:cubicBezTo>
                  <a:cubicBezTo>
                    <a:pt x="92265" y="39484"/>
                    <a:pt x="85818" y="45528"/>
                    <a:pt x="78566" y="45528"/>
                  </a:cubicBezTo>
                  <a:close/>
                  <a:moveTo>
                    <a:pt x="124900" y="45528"/>
                  </a:moveTo>
                  <a:cubicBezTo>
                    <a:pt x="117244" y="45528"/>
                    <a:pt x="111201" y="39484"/>
                    <a:pt x="111201" y="31829"/>
                  </a:cubicBezTo>
                  <a:cubicBezTo>
                    <a:pt x="111201" y="24174"/>
                    <a:pt x="117244" y="18131"/>
                    <a:pt x="124900" y="18131"/>
                  </a:cubicBezTo>
                  <a:cubicBezTo>
                    <a:pt x="132555" y="18131"/>
                    <a:pt x="138598" y="24174"/>
                    <a:pt x="138598" y="31829"/>
                  </a:cubicBezTo>
                  <a:cubicBezTo>
                    <a:pt x="138598" y="39484"/>
                    <a:pt x="132555" y="45528"/>
                    <a:pt x="124900" y="45528"/>
                  </a:cubicBezTo>
                  <a:close/>
                  <a:moveTo>
                    <a:pt x="171233" y="45528"/>
                  </a:moveTo>
                  <a:cubicBezTo>
                    <a:pt x="163578" y="45528"/>
                    <a:pt x="157534" y="39484"/>
                    <a:pt x="157534" y="31829"/>
                  </a:cubicBezTo>
                  <a:cubicBezTo>
                    <a:pt x="157534" y="24174"/>
                    <a:pt x="163578" y="18131"/>
                    <a:pt x="171233" y="18131"/>
                  </a:cubicBezTo>
                  <a:cubicBezTo>
                    <a:pt x="178888" y="18131"/>
                    <a:pt x="184932" y="24174"/>
                    <a:pt x="184932" y="31829"/>
                  </a:cubicBezTo>
                  <a:cubicBezTo>
                    <a:pt x="184932" y="39484"/>
                    <a:pt x="178888" y="45528"/>
                    <a:pt x="171233" y="45528"/>
                  </a:cubicBezTo>
                  <a:close/>
                  <a:moveTo>
                    <a:pt x="217970" y="45528"/>
                  </a:moveTo>
                  <a:cubicBezTo>
                    <a:pt x="210315" y="45528"/>
                    <a:pt x="204271" y="39484"/>
                    <a:pt x="204271" y="31829"/>
                  </a:cubicBezTo>
                  <a:cubicBezTo>
                    <a:pt x="204271" y="24174"/>
                    <a:pt x="210315" y="18131"/>
                    <a:pt x="217970" y="18131"/>
                  </a:cubicBezTo>
                  <a:cubicBezTo>
                    <a:pt x="225625" y="18131"/>
                    <a:pt x="231668" y="24174"/>
                    <a:pt x="231668" y="31829"/>
                  </a:cubicBezTo>
                  <a:cubicBezTo>
                    <a:pt x="231668" y="39484"/>
                    <a:pt x="225222" y="45528"/>
                    <a:pt x="217970" y="45528"/>
                  </a:cubicBezTo>
                  <a:close/>
                  <a:moveTo>
                    <a:pt x="264303" y="45528"/>
                  </a:moveTo>
                  <a:cubicBezTo>
                    <a:pt x="256648" y="45528"/>
                    <a:pt x="250605" y="39484"/>
                    <a:pt x="250605" y="31829"/>
                  </a:cubicBezTo>
                  <a:cubicBezTo>
                    <a:pt x="250605" y="24174"/>
                    <a:pt x="256648" y="18131"/>
                    <a:pt x="264303" y="18131"/>
                  </a:cubicBezTo>
                  <a:cubicBezTo>
                    <a:pt x="271959" y="18131"/>
                    <a:pt x="278002" y="24174"/>
                    <a:pt x="278002" y="31829"/>
                  </a:cubicBezTo>
                  <a:cubicBezTo>
                    <a:pt x="278002" y="39484"/>
                    <a:pt x="271959" y="45528"/>
                    <a:pt x="264303" y="45528"/>
                  </a:cubicBezTo>
                  <a:close/>
                  <a:moveTo>
                    <a:pt x="310637" y="45528"/>
                  </a:moveTo>
                  <a:cubicBezTo>
                    <a:pt x="302982" y="45528"/>
                    <a:pt x="296939" y="39484"/>
                    <a:pt x="296939" y="31829"/>
                  </a:cubicBezTo>
                  <a:cubicBezTo>
                    <a:pt x="296939" y="24174"/>
                    <a:pt x="302982" y="18131"/>
                    <a:pt x="310637" y="18131"/>
                  </a:cubicBezTo>
                  <a:cubicBezTo>
                    <a:pt x="318292" y="18131"/>
                    <a:pt x="324336" y="24174"/>
                    <a:pt x="324336" y="31829"/>
                  </a:cubicBezTo>
                  <a:cubicBezTo>
                    <a:pt x="324336" y="39484"/>
                    <a:pt x="318292" y="45528"/>
                    <a:pt x="310637" y="45528"/>
                  </a:cubicBezTo>
                  <a:close/>
                  <a:moveTo>
                    <a:pt x="356971" y="45528"/>
                  </a:moveTo>
                  <a:cubicBezTo>
                    <a:pt x="349316" y="45528"/>
                    <a:pt x="343272" y="39484"/>
                    <a:pt x="343272" y="31829"/>
                  </a:cubicBezTo>
                  <a:cubicBezTo>
                    <a:pt x="343272" y="24174"/>
                    <a:pt x="349316" y="18131"/>
                    <a:pt x="356971" y="18131"/>
                  </a:cubicBezTo>
                  <a:cubicBezTo>
                    <a:pt x="364626" y="18131"/>
                    <a:pt x="370670" y="24174"/>
                    <a:pt x="370670" y="31829"/>
                  </a:cubicBezTo>
                  <a:cubicBezTo>
                    <a:pt x="371072" y="39484"/>
                    <a:pt x="364626" y="45528"/>
                    <a:pt x="356971" y="45528"/>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 name="Freeform 1430">
              <a:extLst>
                <a:ext uri="{FF2B5EF4-FFF2-40B4-BE49-F238E27FC236}">
                  <a16:creationId xmlns:a16="http://schemas.microsoft.com/office/drawing/2014/main" id="{764BC070-A7DE-18E0-DED0-AA16B74284EF}"/>
                </a:ext>
              </a:extLst>
            </p:cNvPr>
            <p:cNvSpPr/>
            <p:nvPr/>
          </p:nvSpPr>
          <p:spPr>
            <a:xfrm>
              <a:off x="8271736" y="4659386"/>
              <a:ext cx="326753" cy="142627"/>
            </a:xfrm>
            <a:custGeom>
              <a:avLst/>
              <a:gdLst>
                <a:gd name="connsiteX0" fmla="*/ 11281 w 326753"/>
                <a:gd name="connsiteY0" fmla="*/ 20145 h 142627"/>
                <a:gd name="connsiteX1" fmla="*/ 80580 w 326753"/>
                <a:gd name="connsiteY1" fmla="*/ 20145 h 142627"/>
                <a:gd name="connsiteX2" fmla="*/ 80580 w 326753"/>
                <a:gd name="connsiteY2" fmla="*/ 62450 h 142627"/>
                <a:gd name="connsiteX3" fmla="*/ 42707 w 326753"/>
                <a:gd name="connsiteY3" fmla="*/ 92667 h 142627"/>
                <a:gd name="connsiteX4" fmla="*/ 39887 w 326753"/>
                <a:gd name="connsiteY4" fmla="*/ 104754 h 142627"/>
                <a:gd name="connsiteX5" fmla="*/ 54392 w 326753"/>
                <a:gd name="connsiteY5" fmla="*/ 136584 h 142627"/>
                <a:gd name="connsiteX6" fmla="*/ 63658 w 326753"/>
                <a:gd name="connsiteY6" fmla="*/ 142627 h 142627"/>
                <a:gd name="connsiteX7" fmla="*/ 67687 w 326753"/>
                <a:gd name="connsiteY7" fmla="*/ 141821 h 142627"/>
                <a:gd name="connsiteX8" fmla="*/ 72522 w 326753"/>
                <a:gd name="connsiteY8" fmla="*/ 128526 h 142627"/>
                <a:gd name="connsiteX9" fmla="*/ 61241 w 326753"/>
                <a:gd name="connsiteY9" fmla="*/ 103546 h 142627"/>
                <a:gd name="connsiteX10" fmla="*/ 90250 w 326753"/>
                <a:gd name="connsiteY10" fmla="*/ 80177 h 142627"/>
                <a:gd name="connsiteX11" fmla="*/ 119662 w 326753"/>
                <a:gd name="connsiteY11" fmla="*/ 103546 h 142627"/>
                <a:gd name="connsiteX12" fmla="*/ 108380 w 326753"/>
                <a:gd name="connsiteY12" fmla="*/ 128526 h 142627"/>
                <a:gd name="connsiteX13" fmla="*/ 113215 w 326753"/>
                <a:gd name="connsiteY13" fmla="*/ 141821 h 142627"/>
                <a:gd name="connsiteX14" fmla="*/ 117244 w 326753"/>
                <a:gd name="connsiteY14" fmla="*/ 142627 h 142627"/>
                <a:gd name="connsiteX15" fmla="*/ 126511 w 326753"/>
                <a:gd name="connsiteY15" fmla="*/ 136584 h 142627"/>
                <a:gd name="connsiteX16" fmla="*/ 141016 w 326753"/>
                <a:gd name="connsiteY16" fmla="*/ 104754 h 142627"/>
                <a:gd name="connsiteX17" fmla="*/ 138195 w 326753"/>
                <a:gd name="connsiteY17" fmla="*/ 92667 h 142627"/>
                <a:gd name="connsiteX18" fmla="*/ 100322 w 326753"/>
                <a:gd name="connsiteY18" fmla="*/ 62450 h 142627"/>
                <a:gd name="connsiteX19" fmla="*/ 100322 w 326753"/>
                <a:gd name="connsiteY19" fmla="*/ 20145 h 142627"/>
                <a:gd name="connsiteX20" fmla="*/ 228042 w 326753"/>
                <a:gd name="connsiteY20" fmla="*/ 20145 h 142627"/>
                <a:gd name="connsiteX21" fmla="*/ 228042 w 326753"/>
                <a:gd name="connsiteY21" fmla="*/ 62450 h 142627"/>
                <a:gd name="connsiteX22" fmla="*/ 190169 w 326753"/>
                <a:gd name="connsiteY22" fmla="*/ 92667 h 142627"/>
                <a:gd name="connsiteX23" fmla="*/ 187349 w 326753"/>
                <a:gd name="connsiteY23" fmla="*/ 104754 h 142627"/>
                <a:gd name="connsiteX24" fmla="*/ 201854 w 326753"/>
                <a:gd name="connsiteY24" fmla="*/ 136584 h 142627"/>
                <a:gd name="connsiteX25" fmla="*/ 211120 w 326753"/>
                <a:gd name="connsiteY25" fmla="*/ 142627 h 142627"/>
                <a:gd name="connsiteX26" fmla="*/ 215149 w 326753"/>
                <a:gd name="connsiteY26" fmla="*/ 141821 h 142627"/>
                <a:gd name="connsiteX27" fmla="*/ 219984 w 326753"/>
                <a:gd name="connsiteY27" fmla="*/ 128526 h 142627"/>
                <a:gd name="connsiteX28" fmla="*/ 208703 w 326753"/>
                <a:gd name="connsiteY28" fmla="*/ 103546 h 142627"/>
                <a:gd name="connsiteX29" fmla="*/ 237712 w 326753"/>
                <a:gd name="connsiteY29" fmla="*/ 80177 h 142627"/>
                <a:gd name="connsiteX30" fmla="*/ 266721 w 326753"/>
                <a:gd name="connsiteY30" fmla="*/ 103546 h 142627"/>
                <a:gd name="connsiteX31" fmla="*/ 255440 w 326753"/>
                <a:gd name="connsiteY31" fmla="*/ 128526 h 142627"/>
                <a:gd name="connsiteX32" fmla="*/ 260274 w 326753"/>
                <a:gd name="connsiteY32" fmla="*/ 141821 h 142627"/>
                <a:gd name="connsiteX33" fmla="*/ 264303 w 326753"/>
                <a:gd name="connsiteY33" fmla="*/ 142627 h 142627"/>
                <a:gd name="connsiteX34" fmla="*/ 273570 w 326753"/>
                <a:gd name="connsiteY34" fmla="*/ 136584 h 142627"/>
                <a:gd name="connsiteX35" fmla="*/ 288075 w 326753"/>
                <a:gd name="connsiteY35" fmla="*/ 104754 h 142627"/>
                <a:gd name="connsiteX36" fmla="*/ 285254 w 326753"/>
                <a:gd name="connsiteY36" fmla="*/ 92667 h 142627"/>
                <a:gd name="connsiteX37" fmla="*/ 247381 w 326753"/>
                <a:gd name="connsiteY37" fmla="*/ 62450 h 142627"/>
                <a:gd name="connsiteX38" fmla="*/ 247381 w 326753"/>
                <a:gd name="connsiteY38" fmla="*/ 20145 h 142627"/>
                <a:gd name="connsiteX39" fmla="*/ 316681 w 326753"/>
                <a:gd name="connsiteY39" fmla="*/ 20145 h 142627"/>
                <a:gd name="connsiteX40" fmla="*/ 326753 w 326753"/>
                <a:gd name="connsiteY40" fmla="*/ 10073 h 142627"/>
                <a:gd name="connsiteX41" fmla="*/ 316681 w 326753"/>
                <a:gd name="connsiteY41" fmla="*/ 0 h 142627"/>
                <a:gd name="connsiteX42" fmla="*/ 10073 w 326753"/>
                <a:gd name="connsiteY42" fmla="*/ 0 h 142627"/>
                <a:gd name="connsiteX43" fmla="*/ 0 w 326753"/>
                <a:gd name="connsiteY43" fmla="*/ 10073 h 142627"/>
                <a:gd name="connsiteX44" fmla="*/ 11281 w 326753"/>
                <a:gd name="connsiteY44" fmla="*/ 20145 h 14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6753" h="142627">
                  <a:moveTo>
                    <a:pt x="11281" y="20145"/>
                  </a:moveTo>
                  <a:lnTo>
                    <a:pt x="80580" y="20145"/>
                  </a:lnTo>
                  <a:lnTo>
                    <a:pt x="80580" y="62450"/>
                  </a:lnTo>
                  <a:lnTo>
                    <a:pt x="42707" y="92667"/>
                  </a:lnTo>
                  <a:cubicBezTo>
                    <a:pt x="39081" y="95488"/>
                    <a:pt x="37873" y="100322"/>
                    <a:pt x="39887" y="104754"/>
                  </a:cubicBezTo>
                  <a:lnTo>
                    <a:pt x="54392" y="136584"/>
                  </a:lnTo>
                  <a:cubicBezTo>
                    <a:pt x="56003" y="140210"/>
                    <a:pt x="59629" y="142627"/>
                    <a:pt x="63658" y="142627"/>
                  </a:cubicBezTo>
                  <a:cubicBezTo>
                    <a:pt x="64867" y="142627"/>
                    <a:pt x="66479" y="142224"/>
                    <a:pt x="67687" y="141821"/>
                  </a:cubicBezTo>
                  <a:cubicBezTo>
                    <a:pt x="72925" y="139404"/>
                    <a:pt x="74940" y="133360"/>
                    <a:pt x="72522" y="128526"/>
                  </a:cubicBezTo>
                  <a:lnTo>
                    <a:pt x="61241" y="103546"/>
                  </a:lnTo>
                  <a:lnTo>
                    <a:pt x="90250" y="80177"/>
                  </a:lnTo>
                  <a:lnTo>
                    <a:pt x="119662" y="103546"/>
                  </a:lnTo>
                  <a:lnTo>
                    <a:pt x="108380" y="128526"/>
                  </a:lnTo>
                  <a:cubicBezTo>
                    <a:pt x="105963" y="133763"/>
                    <a:pt x="108380" y="139404"/>
                    <a:pt x="113215" y="141821"/>
                  </a:cubicBezTo>
                  <a:cubicBezTo>
                    <a:pt x="114424" y="142627"/>
                    <a:pt x="116036" y="142627"/>
                    <a:pt x="117244" y="142627"/>
                  </a:cubicBezTo>
                  <a:cubicBezTo>
                    <a:pt x="121273" y="142627"/>
                    <a:pt x="124900" y="140613"/>
                    <a:pt x="126511" y="136584"/>
                  </a:cubicBezTo>
                  <a:lnTo>
                    <a:pt x="141016" y="104754"/>
                  </a:lnTo>
                  <a:cubicBezTo>
                    <a:pt x="143030" y="100725"/>
                    <a:pt x="141821" y="95488"/>
                    <a:pt x="138195" y="92667"/>
                  </a:cubicBezTo>
                  <a:lnTo>
                    <a:pt x="100322" y="62450"/>
                  </a:lnTo>
                  <a:lnTo>
                    <a:pt x="100322" y="20145"/>
                  </a:lnTo>
                  <a:lnTo>
                    <a:pt x="228042" y="20145"/>
                  </a:lnTo>
                  <a:lnTo>
                    <a:pt x="228042" y="62450"/>
                  </a:lnTo>
                  <a:lnTo>
                    <a:pt x="190169" y="92667"/>
                  </a:lnTo>
                  <a:cubicBezTo>
                    <a:pt x="186543" y="95488"/>
                    <a:pt x="185335" y="100322"/>
                    <a:pt x="187349" y="104754"/>
                  </a:cubicBezTo>
                  <a:lnTo>
                    <a:pt x="201854" y="136584"/>
                  </a:lnTo>
                  <a:cubicBezTo>
                    <a:pt x="203465" y="140210"/>
                    <a:pt x="207091" y="142627"/>
                    <a:pt x="211120" y="142627"/>
                  </a:cubicBezTo>
                  <a:cubicBezTo>
                    <a:pt x="212329" y="142627"/>
                    <a:pt x="213941" y="142224"/>
                    <a:pt x="215149" y="141821"/>
                  </a:cubicBezTo>
                  <a:cubicBezTo>
                    <a:pt x="220387" y="139404"/>
                    <a:pt x="222402" y="133360"/>
                    <a:pt x="219984" y="128526"/>
                  </a:cubicBezTo>
                  <a:lnTo>
                    <a:pt x="208703" y="103546"/>
                  </a:lnTo>
                  <a:lnTo>
                    <a:pt x="237712" y="80177"/>
                  </a:lnTo>
                  <a:lnTo>
                    <a:pt x="266721" y="103546"/>
                  </a:lnTo>
                  <a:lnTo>
                    <a:pt x="255440" y="128526"/>
                  </a:lnTo>
                  <a:cubicBezTo>
                    <a:pt x="253022" y="133763"/>
                    <a:pt x="255440" y="139404"/>
                    <a:pt x="260274" y="141821"/>
                  </a:cubicBezTo>
                  <a:cubicBezTo>
                    <a:pt x="261483" y="142627"/>
                    <a:pt x="263095" y="142627"/>
                    <a:pt x="264303" y="142627"/>
                  </a:cubicBezTo>
                  <a:cubicBezTo>
                    <a:pt x="268332" y="142627"/>
                    <a:pt x="271959" y="140613"/>
                    <a:pt x="273570" y="136584"/>
                  </a:cubicBezTo>
                  <a:lnTo>
                    <a:pt x="288075" y="104754"/>
                  </a:lnTo>
                  <a:cubicBezTo>
                    <a:pt x="290089" y="100725"/>
                    <a:pt x="288880" y="95488"/>
                    <a:pt x="285254" y="92667"/>
                  </a:cubicBezTo>
                  <a:lnTo>
                    <a:pt x="247381" y="62450"/>
                  </a:lnTo>
                  <a:lnTo>
                    <a:pt x="247381" y="20145"/>
                  </a:lnTo>
                  <a:lnTo>
                    <a:pt x="316681" y="20145"/>
                  </a:lnTo>
                  <a:cubicBezTo>
                    <a:pt x="322321" y="20145"/>
                    <a:pt x="326753" y="15713"/>
                    <a:pt x="326753" y="10073"/>
                  </a:cubicBezTo>
                  <a:cubicBezTo>
                    <a:pt x="326753" y="4432"/>
                    <a:pt x="322321" y="0"/>
                    <a:pt x="316681" y="0"/>
                  </a:cubicBezTo>
                  <a:lnTo>
                    <a:pt x="10073" y="0"/>
                  </a:lnTo>
                  <a:cubicBezTo>
                    <a:pt x="4432" y="0"/>
                    <a:pt x="0" y="4432"/>
                    <a:pt x="0" y="10073"/>
                  </a:cubicBezTo>
                  <a:cubicBezTo>
                    <a:pt x="1209" y="15713"/>
                    <a:pt x="6044" y="20145"/>
                    <a:pt x="11281" y="20145"/>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3" name="Freeform 1405">
            <a:extLst>
              <a:ext uri="{FF2B5EF4-FFF2-40B4-BE49-F238E27FC236}">
                <a16:creationId xmlns:a16="http://schemas.microsoft.com/office/drawing/2014/main" id="{8C89550B-D46A-EB31-94F9-0470B8E9C4A2}"/>
              </a:ext>
            </a:extLst>
          </p:cNvPr>
          <p:cNvSpPr/>
          <p:nvPr/>
        </p:nvSpPr>
        <p:spPr>
          <a:xfrm>
            <a:off x="8107797" y="4390883"/>
            <a:ext cx="394547" cy="525992"/>
          </a:xfrm>
          <a:custGeom>
            <a:avLst/>
            <a:gdLst>
              <a:gd name="connsiteX0" fmla="*/ 270764 w 271659"/>
              <a:gd name="connsiteY0" fmla="*/ 257409 h 362163"/>
              <a:gd name="connsiteX1" fmla="*/ 198644 w 271659"/>
              <a:gd name="connsiteY1" fmla="*/ 198586 h 362163"/>
              <a:gd name="connsiteX2" fmla="*/ 205897 w 271659"/>
              <a:gd name="connsiteY2" fmla="*/ 95443 h 362163"/>
              <a:gd name="connsiteX3" fmla="*/ 205494 w 271659"/>
              <a:gd name="connsiteY3" fmla="*/ 91817 h 362163"/>
              <a:gd name="connsiteX4" fmla="*/ 218387 w 271659"/>
              <a:gd name="connsiteY4" fmla="*/ 82953 h 362163"/>
              <a:gd name="connsiteX5" fmla="*/ 205091 w 271659"/>
              <a:gd name="connsiteY5" fmla="*/ 74089 h 362163"/>
              <a:gd name="connsiteX6" fmla="*/ 168427 w 271659"/>
              <a:gd name="connsiteY6" fmla="*/ 17280 h 362163"/>
              <a:gd name="connsiteX7" fmla="*/ 160772 w 271659"/>
              <a:gd name="connsiteY7" fmla="*/ 45886 h 362163"/>
              <a:gd name="connsiteX8" fmla="*/ 155937 w 271659"/>
              <a:gd name="connsiteY8" fmla="*/ 47901 h 362163"/>
              <a:gd name="connsiteX9" fmla="*/ 153116 w 271659"/>
              <a:gd name="connsiteY9" fmla="*/ 43066 h 362163"/>
              <a:gd name="connsiteX10" fmla="*/ 161174 w 271659"/>
              <a:gd name="connsiteY10" fmla="*/ 10028 h 362163"/>
              <a:gd name="connsiteX11" fmla="*/ 151102 w 271659"/>
              <a:gd name="connsiteY11" fmla="*/ 358 h 362163"/>
              <a:gd name="connsiteX12" fmla="*/ 118870 w 271659"/>
              <a:gd name="connsiteY12" fmla="*/ 358 h 362163"/>
              <a:gd name="connsiteX13" fmla="*/ 109603 w 271659"/>
              <a:gd name="connsiteY13" fmla="*/ 9625 h 362163"/>
              <a:gd name="connsiteX14" fmla="*/ 118064 w 271659"/>
              <a:gd name="connsiteY14" fmla="*/ 43469 h 362163"/>
              <a:gd name="connsiteX15" fmla="*/ 115244 w 271659"/>
              <a:gd name="connsiteY15" fmla="*/ 47498 h 362163"/>
              <a:gd name="connsiteX16" fmla="*/ 109603 w 271659"/>
              <a:gd name="connsiteY16" fmla="*/ 45483 h 362163"/>
              <a:gd name="connsiteX17" fmla="*/ 102351 w 271659"/>
              <a:gd name="connsiteY17" fmla="*/ 17683 h 362163"/>
              <a:gd name="connsiteX18" fmla="*/ 65687 w 271659"/>
              <a:gd name="connsiteY18" fmla="*/ 74492 h 362163"/>
              <a:gd name="connsiteX19" fmla="*/ 52391 w 271659"/>
              <a:gd name="connsiteY19" fmla="*/ 83759 h 362163"/>
              <a:gd name="connsiteX20" fmla="*/ 65284 w 271659"/>
              <a:gd name="connsiteY20" fmla="*/ 91817 h 362163"/>
              <a:gd name="connsiteX21" fmla="*/ 64881 w 271659"/>
              <a:gd name="connsiteY21" fmla="*/ 95040 h 362163"/>
              <a:gd name="connsiteX22" fmla="*/ 72133 w 271659"/>
              <a:gd name="connsiteY22" fmla="*/ 198586 h 362163"/>
              <a:gd name="connsiteX23" fmla="*/ 14 w 271659"/>
              <a:gd name="connsiteY23" fmla="*/ 259021 h 362163"/>
              <a:gd name="connsiteX24" fmla="*/ 14 w 271659"/>
              <a:gd name="connsiteY24" fmla="*/ 338796 h 362163"/>
              <a:gd name="connsiteX25" fmla="*/ 16936 w 271659"/>
              <a:gd name="connsiteY25" fmla="*/ 347257 h 362163"/>
              <a:gd name="connsiteX26" fmla="*/ 43930 w 271659"/>
              <a:gd name="connsiteY26" fmla="*/ 354912 h 362163"/>
              <a:gd name="connsiteX27" fmla="*/ 43930 w 271659"/>
              <a:gd name="connsiteY27" fmla="*/ 327111 h 362163"/>
              <a:gd name="connsiteX28" fmla="*/ 126525 w 271659"/>
              <a:gd name="connsiteY28" fmla="*/ 327111 h 362163"/>
              <a:gd name="connsiteX29" fmla="*/ 126928 w 271659"/>
              <a:gd name="connsiteY29" fmla="*/ 362164 h 362163"/>
              <a:gd name="connsiteX30" fmla="*/ 144253 w 271659"/>
              <a:gd name="connsiteY30" fmla="*/ 362164 h 362163"/>
              <a:gd name="connsiteX31" fmla="*/ 143850 w 271659"/>
              <a:gd name="connsiteY31" fmla="*/ 327111 h 362163"/>
              <a:gd name="connsiteX32" fmla="*/ 226445 w 271659"/>
              <a:gd name="connsiteY32" fmla="*/ 327514 h 362163"/>
              <a:gd name="connsiteX33" fmla="*/ 226847 w 271659"/>
              <a:gd name="connsiteY33" fmla="*/ 354509 h 362163"/>
              <a:gd name="connsiteX34" fmla="*/ 250216 w 271659"/>
              <a:gd name="connsiteY34" fmla="*/ 348868 h 362163"/>
              <a:gd name="connsiteX35" fmla="*/ 270764 w 271659"/>
              <a:gd name="connsiteY35" fmla="*/ 338393 h 362163"/>
              <a:gd name="connsiteX36" fmla="*/ 270764 w 271659"/>
              <a:gd name="connsiteY36" fmla="*/ 257409 h 362163"/>
              <a:gd name="connsiteX37" fmla="*/ 144656 w 271659"/>
              <a:gd name="connsiteY37" fmla="*/ 92623 h 362163"/>
              <a:gd name="connsiteX38" fmla="*/ 147879 w 271659"/>
              <a:gd name="connsiteY38" fmla="*/ 92623 h 362163"/>
              <a:gd name="connsiteX39" fmla="*/ 187363 w 271659"/>
              <a:gd name="connsiteY39" fmla="*/ 123243 h 362163"/>
              <a:gd name="connsiteX40" fmla="*/ 137806 w 271659"/>
              <a:gd name="connsiteY40" fmla="*/ 174009 h 362163"/>
              <a:gd name="connsiteX41" fmla="*/ 82609 w 271659"/>
              <a:gd name="connsiteY41" fmla="*/ 122437 h 362163"/>
              <a:gd name="connsiteX42" fmla="*/ 144656 w 271659"/>
              <a:gd name="connsiteY42" fmla="*/ 92623 h 362163"/>
              <a:gd name="connsiteX43" fmla="*/ 126525 w 271659"/>
              <a:gd name="connsiteY43" fmla="*/ 309787 h 362163"/>
              <a:gd name="connsiteX44" fmla="*/ 45542 w 271659"/>
              <a:gd name="connsiteY44" fmla="*/ 309787 h 362163"/>
              <a:gd name="connsiteX45" fmla="*/ 59240 w 271659"/>
              <a:gd name="connsiteY45" fmla="*/ 223566 h 362163"/>
              <a:gd name="connsiteX46" fmla="*/ 96710 w 271659"/>
              <a:gd name="connsiteY46" fmla="*/ 208255 h 362163"/>
              <a:gd name="connsiteX47" fmla="*/ 126525 w 271659"/>
              <a:gd name="connsiteY47" fmla="*/ 279972 h 362163"/>
              <a:gd name="connsiteX48" fmla="*/ 126525 w 271659"/>
              <a:gd name="connsiteY48" fmla="*/ 309787 h 362163"/>
              <a:gd name="connsiteX49" fmla="*/ 135792 w 271659"/>
              <a:gd name="connsiteY49" fmla="*/ 209867 h 362163"/>
              <a:gd name="connsiteX50" fmla="*/ 101545 w 271659"/>
              <a:gd name="connsiteY50" fmla="*/ 205032 h 362163"/>
              <a:gd name="connsiteX51" fmla="*/ 107589 w 271659"/>
              <a:gd name="connsiteY51" fmla="*/ 197377 h 362163"/>
              <a:gd name="connsiteX52" fmla="*/ 109200 w 271659"/>
              <a:gd name="connsiteY52" fmla="*/ 187305 h 362163"/>
              <a:gd name="connsiteX53" fmla="*/ 161577 w 271659"/>
              <a:gd name="connsiteY53" fmla="*/ 187305 h 362163"/>
              <a:gd name="connsiteX54" fmla="*/ 163189 w 271659"/>
              <a:gd name="connsiteY54" fmla="*/ 196168 h 362163"/>
              <a:gd name="connsiteX55" fmla="*/ 169635 w 271659"/>
              <a:gd name="connsiteY55" fmla="*/ 205032 h 362163"/>
              <a:gd name="connsiteX56" fmla="*/ 135792 w 271659"/>
              <a:gd name="connsiteY56" fmla="*/ 209867 h 362163"/>
              <a:gd name="connsiteX57" fmla="*/ 144656 w 271659"/>
              <a:gd name="connsiteY57" fmla="*/ 309787 h 362163"/>
              <a:gd name="connsiteX58" fmla="*/ 144656 w 271659"/>
              <a:gd name="connsiteY58" fmla="*/ 279569 h 362163"/>
              <a:gd name="connsiteX59" fmla="*/ 174470 w 271659"/>
              <a:gd name="connsiteY59" fmla="*/ 208255 h 362163"/>
              <a:gd name="connsiteX60" fmla="*/ 212746 w 271659"/>
              <a:gd name="connsiteY60" fmla="*/ 223969 h 362163"/>
              <a:gd name="connsiteX61" fmla="*/ 226445 w 271659"/>
              <a:gd name="connsiteY61" fmla="*/ 309787 h 362163"/>
              <a:gd name="connsiteX62" fmla="*/ 144656 w 271659"/>
              <a:gd name="connsiteY62" fmla="*/ 309787 h 36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71659" h="362163">
                <a:moveTo>
                  <a:pt x="270764" y="257409"/>
                </a:moveTo>
                <a:cubicBezTo>
                  <a:pt x="268749" y="224372"/>
                  <a:pt x="198644" y="198586"/>
                  <a:pt x="198644" y="198586"/>
                </a:cubicBezTo>
                <a:cubicBezTo>
                  <a:pt x="234503" y="131704"/>
                  <a:pt x="205897" y="95443"/>
                  <a:pt x="205897" y="95443"/>
                </a:cubicBezTo>
                <a:lnTo>
                  <a:pt x="205494" y="91817"/>
                </a:lnTo>
                <a:cubicBezTo>
                  <a:pt x="205494" y="91817"/>
                  <a:pt x="218789" y="93831"/>
                  <a:pt x="218387" y="82953"/>
                </a:cubicBezTo>
                <a:cubicBezTo>
                  <a:pt x="217984" y="72075"/>
                  <a:pt x="205091" y="74089"/>
                  <a:pt x="205091" y="74089"/>
                </a:cubicBezTo>
                <a:cubicBezTo>
                  <a:pt x="201868" y="32590"/>
                  <a:pt x="168427" y="17280"/>
                  <a:pt x="168427" y="17280"/>
                </a:cubicBezTo>
                <a:cubicBezTo>
                  <a:pt x="168427" y="17280"/>
                  <a:pt x="161980" y="44274"/>
                  <a:pt x="160772" y="45886"/>
                </a:cubicBezTo>
                <a:cubicBezTo>
                  <a:pt x="159563" y="47901"/>
                  <a:pt x="159160" y="48303"/>
                  <a:pt x="155937" y="47901"/>
                </a:cubicBezTo>
                <a:cubicBezTo>
                  <a:pt x="152311" y="47095"/>
                  <a:pt x="153116" y="43066"/>
                  <a:pt x="153116" y="43066"/>
                </a:cubicBezTo>
                <a:cubicBezTo>
                  <a:pt x="153116" y="43066"/>
                  <a:pt x="162786" y="16474"/>
                  <a:pt x="161174" y="10028"/>
                </a:cubicBezTo>
                <a:cubicBezTo>
                  <a:pt x="159160" y="1567"/>
                  <a:pt x="151102" y="358"/>
                  <a:pt x="151102" y="358"/>
                </a:cubicBezTo>
                <a:cubicBezTo>
                  <a:pt x="151102" y="358"/>
                  <a:pt x="124913" y="-448"/>
                  <a:pt x="118870" y="358"/>
                </a:cubicBezTo>
                <a:cubicBezTo>
                  <a:pt x="113229" y="1164"/>
                  <a:pt x="109603" y="9625"/>
                  <a:pt x="109603" y="9625"/>
                </a:cubicBezTo>
                <a:lnTo>
                  <a:pt x="118064" y="43469"/>
                </a:lnTo>
                <a:cubicBezTo>
                  <a:pt x="118064" y="43469"/>
                  <a:pt x="118870" y="46289"/>
                  <a:pt x="115244" y="47498"/>
                </a:cubicBezTo>
                <a:cubicBezTo>
                  <a:pt x="111215" y="48706"/>
                  <a:pt x="109603" y="45483"/>
                  <a:pt x="109603" y="45483"/>
                </a:cubicBezTo>
                <a:lnTo>
                  <a:pt x="102351" y="17683"/>
                </a:lnTo>
                <a:cubicBezTo>
                  <a:pt x="64881" y="39842"/>
                  <a:pt x="65687" y="74492"/>
                  <a:pt x="65687" y="74492"/>
                </a:cubicBezTo>
                <a:cubicBezTo>
                  <a:pt x="65687" y="74492"/>
                  <a:pt x="52391" y="72075"/>
                  <a:pt x="52391" y="83759"/>
                </a:cubicBezTo>
                <a:cubicBezTo>
                  <a:pt x="52391" y="93428"/>
                  <a:pt x="65284" y="91817"/>
                  <a:pt x="65284" y="91817"/>
                </a:cubicBezTo>
                <a:lnTo>
                  <a:pt x="64881" y="95040"/>
                </a:lnTo>
                <a:cubicBezTo>
                  <a:pt x="38289" y="138553"/>
                  <a:pt x="72133" y="198586"/>
                  <a:pt x="72133" y="198586"/>
                </a:cubicBezTo>
                <a:cubicBezTo>
                  <a:pt x="-2806" y="224774"/>
                  <a:pt x="14" y="259021"/>
                  <a:pt x="14" y="259021"/>
                </a:cubicBezTo>
                <a:lnTo>
                  <a:pt x="14" y="338796"/>
                </a:lnTo>
                <a:cubicBezTo>
                  <a:pt x="14" y="338796"/>
                  <a:pt x="13713" y="346451"/>
                  <a:pt x="16936" y="347257"/>
                </a:cubicBezTo>
                <a:cubicBezTo>
                  <a:pt x="20159" y="348465"/>
                  <a:pt x="43930" y="354912"/>
                  <a:pt x="43930" y="354912"/>
                </a:cubicBezTo>
                <a:lnTo>
                  <a:pt x="43930" y="327111"/>
                </a:lnTo>
                <a:lnTo>
                  <a:pt x="126525" y="327111"/>
                </a:lnTo>
                <a:lnTo>
                  <a:pt x="126928" y="362164"/>
                </a:lnTo>
                <a:lnTo>
                  <a:pt x="144253" y="362164"/>
                </a:lnTo>
                <a:lnTo>
                  <a:pt x="143850" y="327111"/>
                </a:lnTo>
                <a:lnTo>
                  <a:pt x="226445" y="327514"/>
                </a:lnTo>
                <a:lnTo>
                  <a:pt x="226847" y="354509"/>
                </a:lnTo>
                <a:cubicBezTo>
                  <a:pt x="226847" y="354509"/>
                  <a:pt x="243366" y="350077"/>
                  <a:pt x="250216" y="348868"/>
                </a:cubicBezTo>
                <a:cubicBezTo>
                  <a:pt x="256662" y="347659"/>
                  <a:pt x="270764" y="338393"/>
                  <a:pt x="270764" y="338393"/>
                </a:cubicBezTo>
                <a:cubicBezTo>
                  <a:pt x="270764" y="338393"/>
                  <a:pt x="272778" y="290447"/>
                  <a:pt x="270764" y="257409"/>
                </a:cubicBezTo>
                <a:close/>
                <a:moveTo>
                  <a:pt x="144656" y="92623"/>
                </a:moveTo>
                <a:lnTo>
                  <a:pt x="147879" y="92623"/>
                </a:lnTo>
                <a:cubicBezTo>
                  <a:pt x="147879" y="92623"/>
                  <a:pt x="172859" y="106321"/>
                  <a:pt x="187363" y="123243"/>
                </a:cubicBezTo>
                <a:cubicBezTo>
                  <a:pt x="187363" y="123243"/>
                  <a:pt x="187766" y="171994"/>
                  <a:pt x="137806" y="174009"/>
                </a:cubicBezTo>
                <a:cubicBezTo>
                  <a:pt x="85832" y="176023"/>
                  <a:pt x="82609" y="122437"/>
                  <a:pt x="82609" y="122437"/>
                </a:cubicBezTo>
                <a:cubicBezTo>
                  <a:pt x="82609" y="122437"/>
                  <a:pt x="136195" y="113574"/>
                  <a:pt x="144656" y="92623"/>
                </a:cubicBezTo>
                <a:close/>
                <a:moveTo>
                  <a:pt x="126525" y="309787"/>
                </a:moveTo>
                <a:lnTo>
                  <a:pt x="45542" y="309787"/>
                </a:lnTo>
                <a:lnTo>
                  <a:pt x="59240" y="223566"/>
                </a:lnTo>
                <a:lnTo>
                  <a:pt x="96710" y="208255"/>
                </a:lnTo>
                <a:lnTo>
                  <a:pt x="126525" y="279972"/>
                </a:lnTo>
                <a:lnTo>
                  <a:pt x="126525" y="309787"/>
                </a:lnTo>
                <a:close/>
                <a:moveTo>
                  <a:pt x="135792" y="209867"/>
                </a:moveTo>
                <a:cubicBezTo>
                  <a:pt x="117258" y="209867"/>
                  <a:pt x="101545" y="205032"/>
                  <a:pt x="101545" y="205032"/>
                </a:cubicBezTo>
                <a:cubicBezTo>
                  <a:pt x="101545" y="205032"/>
                  <a:pt x="105977" y="200600"/>
                  <a:pt x="107589" y="197377"/>
                </a:cubicBezTo>
                <a:cubicBezTo>
                  <a:pt x="109200" y="194154"/>
                  <a:pt x="109603" y="190528"/>
                  <a:pt x="109200" y="187305"/>
                </a:cubicBezTo>
                <a:cubicBezTo>
                  <a:pt x="109200" y="187305"/>
                  <a:pt x="135389" y="198989"/>
                  <a:pt x="161577" y="187305"/>
                </a:cubicBezTo>
                <a:cubicBezTo>
                  <a:pt x="161577" y="187305"/>
                  <a:pt x="161174" y="192139"/>
                  <a:pt x="163189" y="196168"/>
                </a:cubicBezTo>
                <a:cubicBezTo>
                  <a:pt x="165204" y="200197"/>
                  <a:pt x="168427" y="204226"/>
                  <a:pt x="169635" y="205032"/>
                </a:cubicBezTo>
                <a:cubicBezTo>
                  <a:pt x="169635" y="205032"/>
                  <a:pt x="154728" y="209464"/>
                  <a:pt x="135792" y="209867"/>
                </a:cubicBezTo>
                <a:close/>
                <a:moveTo>
                  <a:pt x="144656" y="309787"/>
                </a:moveTo>
                <a:lnTo>
                  <a:pt x="144656" y="279569"/>
                </a:lnTo>
                <a:lnTo>
                  <a:pt x="174470" y="208255"/>
                </a:lnTo>
                <a:lnTo>
                  <a:pt x="212746" y="223969"/>
                </a:lnTo>
                <a:lnTo>
                  <a:pt x="226445" y="309787"/>
                </a:lnTo>
                <a:lnTo>
                  <a:pt x="144656" y="309787"/>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Freeform 1458">
            <a:extLst>
              <a:ext uri="{FF2B5EF4-FFF2-40B4-BE49-F238E27FC236}">
                <a16:creationId xmlns:a16="http://schemas.microsoft.com/office/drawing/2014/main" id="{51928AD6-3B02-708A-7684-B9F0A23B8B29}"/>
              </a:ext>
            </a:extLst>
          </p:cNvPr>
          <p:cNvSpPr/>
          <p:nvPr/>
        </p:nvSpPr>
        <p:spPr>
          <a:xfrm>
            <a:off x="4470293" y="3030427"/>
            <a:ext cx="564678" cy="463931"/>
          </a:xfrm>
          <a:custGeom>
            <a:avLst/>
            <a:gdLst>
              <a:gd name="connsiteX0" fmla="*/ 77357 w 342063"/>
              <a:gd name="connsiteY0" fmla="*/ 186348 h 258870"/>
              <a:gd name="connsiteX1" fmla="*/ 41499 w 342063"/>
              <a:gd name="connsiteY1" fmla="*/ 222206 h 258870"/>
              <a:gd name="connsiteX2" fmla="*/ 77357 w 342063"/>
              <a:gd name="connsiteY2" fmla="*/ 258065 h 258870"/>
              <a:gd name="connsiteX3" fmla="*/ 113215 w 342063"/>
              <a:gd name="connsiteY3" fmla="*/ 222206 h 258870"/>
              <a:gd name="connsiteX4" fmla="*/ 77357 w 342063"/>
              <a:gd name="connsiteY4" fmla="*/ 186348 h 258870"/>
              <a:gd name="connsiteX5" fmla="*/ 77357 w 342063"/>
              <a:gd name="connsiteY5" fmla="*/ 242351 h 258870"/>
              <a:gd name="connsiteX6" fmla="*/ 57212 w 342063"/>
              <a:gd name="connsiteY6" fmla="*/ 222206 h 258870"/>
              <a:gd name="connsiteX7" fmla="*/ 77357 w 342063"/>
              <a:gd name="connsiteY7" fmla="*/ 202061 h 258870"/>
              <a:gd name="connsiteX8" fmla="*/ 97502 w 342063"/>
              <a:gd name="connsiteY8" fmla="*/ 222206 h 258870"/>
              <a:gd name="connsiteX9" fmla="*/ 77357 w 342063"/>
              <a:gd name="connsiteY9" fmla="*/ 242351 h 258870"/>
              <a:gd name="connsiteX10" fmla="*/ 331991 w 342063"/>
              <a:gd name="connsiteY10" fmla="*/ 171844 h 258870"/>
              <a:gd name="connsiteX11" fmla="*/ 338840 w 342063"/>
              <a:gd name="connsiteY11" fmla="*/ 175873 h 258870"/>
              <a:gd name="connsiteX12" fmla="*/ 342064 w 342063"/>
              <a:gd name="connsiteY12" fmla="*/ 181513 h 258870"/>
              <a:gd name="connsiteX13" fmla="*/ 342064 w 342063"/>
              <a:gd name="connsiteY13" fmla="*/ 180305 h 258870"/>
              <a:gd name="connsiteX14" fmla="*/ 325142 w 342063"/>
              <a:gd name="connsiteY14" fmla="*/ 156130 h 258870"/>
              <a:gd name="connsiteX15" fmla="*/ 282434 w 342063"/>
              <a:gd name="connsiteY15" fmla="*/ 141223 h 258870"/>
              <a:gd name="connsiteX16" fmla="*/ 259066 w 342063"/>
              <a:gd name="connsiteY16" fmla="*/ 118258 h 258870"/>
              <a:gd name="connsiteX17" fmla="*/ 241338 w 342063"/>
              <a:gd name="connsiteY17" fmla="*/ 94083 h 258870"/>
              <a:gd name="connsiteX18" fmla="*/ 209912 w 342063"/>
              <a:gd name="connsiteY18" fmla="*/ 80788 h 258870"/>
              <a:gd name="connsiteX19" fmla="*/ 107172 w 342063"/>
              <a:gd name="connsiteY19" fmla="*/ 79982 h 258870"/>
              <a:gd name="connsiteX20" fmla="*/ 76954 w 342063"/>
              <a:gd name="connsiteY20" fmla="*/ 89652 h 258870"/>
              <a:gd name="connsiteX21" fmla="*/ 44319 w 342063"/>
              <a:gd name="connsiteY21" fmla="*/ 138806 h 258870"/>
              <a:gd name="connsiteX22" fmla="*/ 41902 w 342063"/>
              <a:gd name="connsiteY22" fmla="*/ 140820 h 258870"/>
              <a:gd name="connsiteX23" fmla="*/ 33844 w 342063"/>
              <a:gd name="connsiteY23" fmla="*/ 127927 h 258870"/>
              <a:gd name="connsiteX24" fmla="*/ 35858 w 342063"/>
              <a:gd name="connsiteY24" fmla="*/ 119063 h 258870"/>
              <a:gd name="connsiteX25" fmla="*/ 51169 w 342063"/>
              <a:gd name="connsiteY25" fmla="*/ 104962 h 258870"/>
              <a:gd name="connsiteX26" fmla="*/ 58421 w 342063"/>
              <a:gd name="connsiteY26" fmla="*/ 95292 h 258870"/>
              <a:gd name="connsiteX27" fmla="*/ 59629 w 342063"/>
              <a:gd name="connsiteY27" fmla="*/ 81996 h 258870"/>
              <a:gd name="connsiteX28" fmla="*/ 57615 w 342063"/>
              <a:gd name="connsiteY28" fmla="*/ 76356 h 258870"/>
              <a:gd name="connsiteX29" fmla="*/ 75745 w 342063"/>
              <a:gd name="connsiteY29" fmla="*/ 40901 h 258870"/>
              <a:gd name="connsiteX30" fmla="*/ 75745 w 342063"/>
              <a:gd name="connsiteY30" fmla="*/ 40498 h 258870"/>
              <a:gd name="connsiteX31" fmla="*/ 75745 w 342063"/>
              <a:gd name="connsiteY31" fmla="*/ 40498 h 258870"/>
              <a:gd name="connsiteX32" fmla="*/ 72925 w 342063"/>
              <a:gd name="connsiteY32" fmla="*/ 28411 h 258870"/>
              <a:gd name="connsiteX33" fmla="*/ 60032 w 342063"/>
              <a:gd name="connsiteY33" fmla="*/ 20756 h 258870"/>
              <a:gd name="connsiteX34" fmla="*/ 58421 w 342063"/>
              <a:gd name="connsiteY34" fmla="*/ 21158 h 258870"/>
              <a:gd name="connsiteX35" fmla="*/ 58018 w 342063"/>
              <a:gd name="connsiteY35" fmla="*/ 19144 h 258870"/>
              <a:gd name="connsiteX36" fmla="*/ 48348 w 342063"/>
              <a:gd name="connsiteY36" fmla="*/ 21561 h 258870"/>
              <a:gd name="connsiteX37" fmla="*/ 48751 w 342063"/>
              <a:gd name="connsiteY37" fmla="*/ 23576 h 258870"/>
              <a:gd name="connsiteX38" fmla="*/ 32232 w 342063"/>
              <a:gd name="connsiteY38" fmla="*/ 27605 h 258870"/>
              <a:gd name="connsiteX39" fmla="*/ 31829 w 342063"/>
              <a:gd name="connsiteY39" fmla="*/ 25590 h 258870"/>
              <a:gd name="connsiteX40" fmla="*/ 22160 w 342063"/>
              <a:gd name="connsiteY40" fmla="*/ 28008 h 258870"/>
              <a:gd name="connsiteX41" fmla="*/ 22562 w 342063"/>
              <a:gd name="connsiteY41" fmla="*/ 30022 h 258870"/>
              <a:gd name="connsiteX42" fmla="*/ 21354 w 342063"/>
              <a:gd name="connsiteY42" fmla="*/ 30425 h 258870"/>
              <a:gd name="connsiteX43" fmla="*/ 13699 w 342063"/>
              <a:gd name="connsiteY43" fmla="*/ 43318 h 258870"/>
              <a:gd name="connsiteX44" fmla="*/ 16519 w 342063"/>
              <a:gd name="connsiteY44" fmla="*/ 55405 h 258870"/>
              <a:gd name="connsiteX45" fmla="*/ 16519 w 342063"/>
              <a:gd name="connsiteY45" fmla="*/ 55405 h 258870"/>
              <a:gd name="connsiteX46" fmla="*/ 16519 w 342063"/>
              <a:gd name="connsiteY46" fmla="*/ 55808 h 258870"/>
              <a:gd name="connsiteX47" fmla="*/ 48348 w 342063"/>
              <a:gd name="connsiteY47" fmla="*/ 78773 h 258870"/>
              <a:gd name="connsiteX48" fmla="*/ 50766 w 342063"/>
              <a:gd name="connsiteY48" fmla="*/ 84817 h 258870"/>
              <a:gd name="connsiteX49" fmla="*/ 48751 w 342063"/>
              <a:gd name="connsiteY49" fmla="*/ 94889 h 258870"/>
              <a:gd name="connsiteX50" fmla="*/ 33441 w 342063"/>
              <a:gd name="connsiteY50" fmla="*/ 108991 h 258870"/>
              <a:gd name="connsiteX51" fmla="*/ 26189 w 342063"/>
              <a:gd name="connsiteY51" fmla="*/ 118258 h 258870"/>
              <a:gd name="connsiteX52" fmla="*/ 24980 w 342063"/>
              <a:gd name="connsiteY52" fmla="*/ 131150 h 258870"/>
              <a:gd name="connsiteX53" fmla="*/ 33844 w 342063"/>
              <a:gd name="connsiteY53" fmla="*/ 146461 h 258870"/>
              <a:gd name="connsiteX54" fmla="*/ 806 w 342063"/>
              <a:gd name="connsiteY54" fmla="*/ 169829 h 258870"/>
              <a:gd name="connsiteX55" fmla="*/ 806 w 342063"/>
              <a:gd name="connsiteY55" fmla="*/ 173455 h 258870"/>
              <a:gd name="connsiteX56" fmla="*/ 8461 w 342063"/>
              <a:gd name="connsiteY56" fmla="*/ 173455 h 258870"/>
              <a:gd name="connsiteX57" fmla="*/ 11281 w 342063"/>
              <a:gd name="connsiteY57" fmla="*/ 176276 h 258870"/>
              <a:gd name="connsiteX58" fmla="*/ 15713 w 342063"/>
              <a:gd name="connsiteY58" fmla="*/ 189168 h 258870"/>
              <a:gd name="connsiteX59" fmla="*/ 14907 w 342063"/>
              <a:gd name="connsiteY59" fmla="*/ 191989 h 258870"/>
              <a:gd name="connsiteX60" fmla="*/ 403 w 342063"/>
              <a:gd name="connsiteY60" fmla="*/ 191989 h 258870"/>
              <a:gd name="connsiteX61" fmla="*/ 0 w 342063"/>
              <a:gd name="connsiteY61" fmla="*/ 205687 h 258870"/>
              <a:gd name="connsiteX62" fmla="*/ 17728 w 342063"/>
              <a:gd name="connsiteY62" fmla="*/ 223415 h 258870"/>
              <a:gd name="connsiteX63" fmla="*/ 33441 w 342063"/>
              <a:gd name="connsiteY63" fmla="*/ 223415 h 258870"/>
              <a:gd name="connsiteX64" fmla="*/ 76551 w 342063"/>
              <a:gd name="connsiteY64" fmla="*/ 180305 h 258870"/>
              <a:gd name="connsiteX65" fmla="*/ 119662 w 342063"/>
              <a:gd name="connsiteY65" fmla="*/ 223415 h 258870"/>
              <a:gd name="connsiteX66" fmla="*/ 205883 w 342063"/>
              <a:gd name="connsiteY66" fmla="*/ 223415 h 258870"/>
              <a:gd name="connsiteX67" fmla="*/ 248993 w 342063"/>
              <a:gd name="connsiteY67" fmla="*/ 180305 h 258870"/>
              <a:gd name="connsiteX68" fmla="*/ 292104 w 342063"/>
              <a:gd name="connsiteY68" fmla="*/ 223415 h 258870"/>
              <a:gd name="connsiteX69" fmla="*/ 323933 w 342063"/>
              <a:gd name="connsiteY69" fmla="*/ 223415 h 258870"/>
              <a:gd name="connsiteX70" fmla="*/ 341661 w 342063"/>
              <a:gd name="connsiteY70" fmla="*/ 205284 h 258870"/>
              <a:gd name="connsiteX71" fmla="*/ 341661 w 342063"/>
              <a:gd name="connsiteY71" fmla="*/ 198435 h 258870"/>
              <a:gd name="connsiteX72" fmla="*/ 328365 w 342063"/>
              <a:gd name="connsiteY72" fmla="*/ 198435 h 258870"/>
              <a:gd name="connsiteX73" fmla="*/ 328365 w 342063"/>
              <a:gd name="connsiteY73" fmla="*/ 173052 h 258870"/>
              <a:gd name="connsiteX74" fmla="*/ 331991 w 342063"/>
              <a:gd name="connsiteY74" fmla="*/ 171844 h 258870"/>
              <a:gd name="connsiteX75" fmla="*/ 45931 w 342063"/>
              <a:gd name="connsiteY75" fmla="*/ 74744 h 258870"/>
              <a:gd name="connsiteX76" fmla="*/ 19339 w 342063"/>
              <a:gd name="connsiteY76" fmla="*/ 54599 h 258870"/>
              <a:gd name="connsiteX77" fmla="*/ 19339 w 342063"/>
              <a:gd name="connsiteY77" fmla="*/ 54196 h 258870"/>
              <a:gd name="connsiteX78" fmla="*/ 19339 w 342063"/>
              <a:gd name="connsiteY78" fmla="*/ 54196 h 258870"/>
              <a:gd name="connsiteX79" fmla="*/ 16922 w 342063"/>
              <a:gd name="connsiteY79" fmla="*/ 44527 h 258870"/>
              <a:gd name="connsiteX80" fmla="*/ 25786 w 342063"/>
              <a:gd name="connsiteY80" fmla="*/ 31634 h 258870"/>
              <a:gd name="connsiteX81" fmla="*/ 26189 w 342063"/>
              <a:gd name="connsiteY81" fmla="*/ 32440 h 258870"/>
              <a:gd name="connsiteX82" fmla="*/ 20951 w 342063"/>
              <a:gd name="connsiteY82" fmla="*/ 43721 h 258870"/>
              <a:gd name="connsiteX83" fmla="*/ 23368 w 342063"/>
              <a:gd name="connsiteY83" fmla="*/ 53391 h 258870"/>
              <a:gd name="connsiteX84" fmla="*/ 23368 w 342063"/>
              <a:gd name="connsiteY84" fmla="*/ 53391 h 258870"/>
              <a:gd name="connsiteX85" fmla="*/ 23368 w 342063"/>
              <a:gd name="connsiteY85" fmla="*/ 53793 h 258870"/>
              <a:gd name="connsiteX86" fmla="*/ 47139 w 342063"/>
              <a:gd name="connsiteY86" fmla="*/ 70715 h 258870"/>
              <a:gd name="connsiteX87" fmla="*/ 45931 w 342063"/>
              <a:gd name="connsiteY87" fmla="*/ 74744 h 258870"/>
              <a:gd name="connsiteX88" fmla="*/ 157937 w 342063"/>
              <a:gd name="connsiteY88" fmla="*/ 133971 h 258870"/>
              <a:gd name="connsiteX89" fmla="*/ 149879 w 342063"/>
              <a:gd name="connsiteY89" fmla="*/ 141223 h 258870"/>
              <a:gd name="connsiteX90" fmla="*/ 78969 w 342063"/>
              <a:gd name="connsiteY90" fmla="*/ 141223 h 258870"/>
              <a:gd name="connsiteX91" fmla="*/ 74940 w 342063"/>
              <a:gd name="connsiteY91" fmla="*/ 135180 h 258870"/>
              <a:gd name="connsiteX92" fmla="*/ 93876 w 342063"/>
              <a:gd name="connsiteY92" fmla="*/ 106574 h 258870"/>
              <a:gd name="connsiteX93" fmla="*/ 106366 w 342063"/>
              <a:gd name="connsiteY93" fmla="*/ 100530 h 258870"/>
              <a:gd name="connsiteX94" fmla="*/ 149879 w 342063"/>
              <a:gd name="connsiteY94" fmla="*/ 100530 h 258870"/>
              <a:gd name="connsiteX95" fmla="*/ 157937 w 342063"/>
              <a:gd name="connsiteY95" fmla="*/ 107782 h 258870"/>
              <a:gd name="connsiteX96" fmla="*/ 157937 w 342063"/>
              <a:gd name="connsiteY96" fmla="*/ 133971 h 258870"/>
              <a:gd name="connsiteX97" fmla="*/ 239726 w 342063"/>
              <a:gd name="connsiteY97" fmla="*/ 141223 h 258870"/>
              <a:gd name="connsiteX98" fmla="*/ 177680 w 342063"/>
              <a:gd name="connsiteY98" fmla="*/ 141223 h 258870"/>
              <a:gd name="connsiteX99" fmla="*/ 170427 w 342063"/>
              <a:gd name="connsiteY99" fmla="*/ 133971 h 258870"/>
              <a:gd name="connsiteX100" fmla="*/ 170427 w 342063"/>
              <a:gd name="connsiteY100" fmla="*/ 107379 h 258870"/>
              <a:gd name="connsiteX101" fmla="*/ 177680 w 342063"/>
              <a:gd name="connsiteY101" fmla="*/ 100127 h 258870"/>
              <a:gd name="connsiteX102" fmla="*/ 215955 w 342063"/>
              <a:gd name="connsiteY102" fmla="*/ 100127 h 258870"/>
              <a:gd name="connsiteX103" fmla="*/ 226834 w 342063"/>
              <a:gd name="connsiteY103" fmla="*/ 106171 h 258870"/>
              <a:gd name="connsiteX104" fmla="*/ 243353 w 342063"/>
              <a:gd name="connsiteY104" fmla="*/ 134777 h 258870"/>
              <a:gd name="connsiteX105" fmla="*/ 239726 w 342063"/>
              <a:gd name="connsiteY105" fmla="*/ 141223 h 258870"/>
              <a:gd name="connsiteX106" fmla="*/ 249396 w 342063"/>
              <a:gd name="connsiteY106" fmla="*/ 184736 h 258870"/>
              <a:gd name="connsiteX107" fmla="*/ 212329 w 342063"/>
              <a:gd name="connsiteY107" fmla="*/ 221803 h 258870"/>
              <a:gd name="connsiteX108" fmla="*/ 249396 w 342063"/>
              <a:gd name="connsiteY108" fmla="*/ 258870 h 258870"/>
              <a:gd name="connsiteX109" fmla="*/ 286463 w 342063"/>
              <a:gd name="connsiteY109" fmla="*/ 221803 h 258870"/>
              <a:gd name="connsiteX110" fmla="*/ 249396 w 342063"/>
              <a:gd name="connsiteY110" fmla="*/ 184736 h 258870"/>
              <a:gd name="connsiteX111" fmla="*/ 249396 w 342063"/>
              <a:gd name="connsiteY111" fmla="*/ 243157 h 258870"/>
              <a:gd name="connsiteX112" fmla="*/ 228445 w 342063"/>
              <a:gd name="connsiteY112" fmla="*/ 222206 h 258870"/>
              <a:gd name="connsiteX113" fmla="*/ 249396 w 342063"/>
              <a:gd name="connsiteY113" fmla="*/ 201255 h 258870"/>
              <a:gd name="connsiteX114" fmla="*/ 270347 w 342063"/>
              <a:gd name="connsiteY114" fmla="*/ 222206 h 258870"/>
              <a:gd name="connsiteX115" fmla="*/ 249396 w 342063"/>
              <a:gd name="connsiteY115" fmla="*/ 243157 h 258870"/>
              <a:gd name="connsiteX116" fmla="*/ 18936 w 342063"/>
              <a:gd name="connsiteY116" fmla="*/ 12698 h 258870"/>
              <a:gd name="connsiteX117" fmla="*/ 22562 w 342063"/>
              <a:gd name="connsiteY117" fmla="*/ 6654 h 258870"/>
              <a:gd name="connsiteX118" fmla="*/ 28606 w 342063"/>
              <a:gd name="connsiteY118" fmla="*/ 10280 h 258870"/>
              <a:gd name="connsiteX119" fmla="*/ 31426 w 342063"/>
              <a:gd name="connsiteY119" fmla="*/ 21561 h 258870"/>
              <a:gd name="connsiteX120" fmla="*/ 21757 w 342063"/>
              <a:gd name="connsiteY120" fmla="*/ 23979 h 258870"/>
              <a:gd name="connsiteX121" fmla="*/ 18936 w 342063"/>
              <a:gd name="connsiteY121" fmla="*/ 12698 h 258870"/>
              <a:gd name="connsiteX122" fmla="*/ 44722 w 342063"/>
              <a:gd name="connsiteY122" fmla="*/ 6251 h 258870"/>
              <a:gd name="connsiteX123" fmla="*/ 48348 w 342063"/>
              <a:gd name="connsiteY123" fmla="*/ 207 h 258870"/>
              <a:gd name="connsiteX124" fmla="*/ 54392 w 342063"/>
              <a:gd name="connsiteY124" fmla="*/ 3834 h 258870"/>
              <a:gd name="connsiteX125" fmla="*/ 57212 w 342063"/>
              <a:gd name="connsiteY125" fmla="*/ 15115 h 258870"/>
              <a:gd name="connsiteX126" fmla="*/ 47542 w 342063"/>
              <a:gd name="connsiteY126" fmla="*/ 17532 h 258870"/>
              <a:gd name="connsiteX127" fmla="*/ 44722 w 342063"/>
              <a:gd name="connsiteY127" fmla="*/ 6251 h 25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42063" h="258870">
                <a:moveTo>
                  <a:pt x="77357" y="186348"/>
                </a:moveTo>
                <a:cubicBezTo>
                  <a:pt x="57615" y="186348"/>
                  <a:pt x="41499" y="202464"/>
                  <a:pt x="41499" y="222206"/>
                </a:cubicBezTo>
                <a:cubicBezTo>
                  <a:pt x="41499" y="241948"/>
                  <a:pt x="57615" y="258065"/>
                  <a:pt x="77357" y="258065"/>
                </a:cubicBezTo>
                <a:cubicBezTo>
                  <a:pt x="97099" y="258065"/>
                  <a:pt x="113215" y="241948"/>
                  <a:pt x="113215" y="222206"/>
                </a:cubicBezTo>
                <a:cubicBezTo>
                  <a:pt x="113215" y="202464"/>
                  <a:pt x="97099" y="186348"/>
                  <a:pt x="77357" y="186348"/>
                </a:cubicBezTo>
                <a:close/>
                <a:moveTo>
                  <a:pt x="77357" y="242351"/>
                </a:moveTo>
                <a:cubicBezTo>
                  <a:pt x="66076" y="242351"/>
                  <a:pt x="57212" y="233488"/>
                  <a:pt x="57212" y="222206"/>
                </a:cubicBezTo>
                <a:cubicBezTo>
                  <a:pt x="57212" y="210925"/>
                  <a:pt x="66076" y="202061"/>
                  <a:pt x="77357" y="202061"/>
                </a:cubicBezTo>
                <a:cubicBezTo>
                  <a:pt x="88638" y="202061"/>
                  <a:pt x="97502" y="210925"/>
                  <a:pt x="97502" y="222206"/>
                </a:cubicBezTo>
                <a:cubicBezTo>
                  <a:pt x="97502" y="233085"/>
                  <a:pt x="88235" y="242351"/>
                  <a:pt x="77357" y="242351"/>
                </a:cubicBezTo>
                <a:close/>
                <a:moveTo>
                  <a:pt x="331991" y="171844"/>
                </a:moveTo>
                <a:cubicBezTo>
                  <a:pt x="334408" y="171844"/>
                  <a:pt x="337632" y="173455"/>
                  <a:pt x="338840" y="175873"/>
                </a:cubicBezTo>
                <a:lnTo>
                  <a:pt x="342064" y="181513"/>
                </a:lnTo>
                <a:lnTo>
                  <a:pt x="342064" y="180305"/>
                </a:lnTo>
                <a:cubicBezTo>
                  <a:pt x="342064" y="170635"/>
                  <a:pt x="334408" y="159354"/>
                  <a:pt x="325142" y="156130"/>
                </a:cubicBezTo>
                <a:lnTo>
                  <a:pt x="282434" y="141223"/>
                </a:lnTo>
                <a:cubicBezTo>
                  <a:pt x="273167" y="137597"/>
                  <a:pt x="262692" y="127121"/>
                  <a:pt x="259066" y="118258"/>
                </a:cubicBezTo>
                <a:lnTo>
                  <a:pt x="241338" y="94083"/>
                </a:lnTo>
                <a:cubicBezTo>
                  <a:pt x="237712" y="84817"/>
                  <a:pt x="219984" y="80788"/>
                  <a:pt x="209912" y="80788"/>
                </a:cubicBezTo>
                <a:lnTo>
                  <a:pt x="107172" y="79982"/>
                </a:lnTo>
                <a:cubicBezTo>
                  <a:pt x="97502" y="79982"/>
                  <a:pt x="83804" y="82399"/>
                  <a:pt x="76954" y="89652"/>
                </a:cubicBezTo>
                <a:lnTo>
                  <a:pt x="44319" y="138806"/>
                </a:lnTo>
                <a:cubicBezTo>
                  <a:pt x="43916" y="139612"/>
                  <a:pt x="42708" y="140014"/>
                  <a:pt x="41902" y="140820"/>
                </a:cubicBezTo>
                <a:cubicBezTo>
                  <a:pt x="37067" y="135180"/>
                  <a:pt x="34650" y="131150"/>
                  <a:pt x="33844" y="127927"/>
                </a:cubicBezTo>
                <a:cubicBezTo>
                  <a:pt x="33038" y="124301"/>
                  <a:pt x="33844" y="121884"/>
                  <a:pt x="35858" y="119063"/>
                </a:cubicBezTo>
                <a:cubicBezTo>
                  <a:pt x="39081" y="114632"/>
                  <a:pt x="45528" y="110603"/>
                  <a:pt x="51169" y="104962"/>
                </a:cubicBezTo>
                <a:cubicBezTo>
                  <a:pt x="53989" y="102142"/>
                  <a:pt x="56809" y="99321"/>
                  <a:pt x="58421" y="95292"/>
                </a:cubicBezTo>
                <a:cubicBezTo>
                  <a:pt x="60032" y="91666"/>
                  <a:pt x="60838" y="86831"/>
                  <a:pt x="59629" y="81996"/>
                </a:cubicBezTo>
                <a:cubicBezTo>
                  <a:pt x="59227" y="79982"/>
                  <a:pt x="58421" y="78370"/>
                  <a:pt x="57615" y="76356"/>
                </a:cubicBezTo>
                <a:cubicBezTo>
                  <a:pt x="71314" y="70715"/>
                  <a:pt x="79372" y="55808"/>
                  <a:pt x="75745" y="40901"/>
                </a:cubicBezTo>
                <a:cubicBezTo>
                  <a:pt x="75745" y="40901"/>
                  <a:pt x="75745" y="40498"/>
                  <a:pt x="75745" y="40498"/>
                </a:cubicBezTo>
                <a:cubicBezTo>
                  <a:pt x="75745" y="40498"/>
                  <a:pt x="75745" y="40498"/>
                  <a:pt x="75745" y="40498"/>
                </a:cubicBezTo>
                <a:lnTo>
                  <a:pt x="72925" y="28411"/>
                </a:lnTo>
                <a:cubicBezTo>
                  <a:pt x="71716" y="22770"/>
                  <a:pt x="65673" y="19144"/>
                  <a:pt x="60032" y="20756"/>
                </a:cubicBezTo>
                <a:lnTo>
                  <a:pt x="58421" y="21158"/>
                </a:lnTo>
                <a:lnTo>
                  <a:pt x="58018" y="19144"/>
                </a:lnTo>
                <a:lnTo>
                  <a:pt x="48348" y="21561"/>
                </a:lnTo>
                <a:lnTo>
                  <a:pt x="48751" y="23576"/>
                </a:lnTo>
                <a:lnTo>
                  <a:pt x="32232" y="27605"/>
                </a:lnTo>
                <a:lnTo>
                  <a:pt x="31829" y="25590"/>
                </a:lnTo>
                <a:lnTo>
                  <a:pt x="22160" y="28008"/>
                </a:lnTo>
                <a:lnTo>
                  <a:pt x="22562" y="30022"/>
                </a:lnTo>
                <a:lnTo>
                  <a:pt x="21354" y="30425"/>
                </a:lnTo>
                <a:cubicBezTo>
                  <a:pt x="15713" y="31634"/>
                  <a:pt x="12087" y="37677"/>
                  <a:pt x="13699" y="43318"/>
                </a:cubicBezTo>
                <a:lnTo>
                  <a:pt x="16519" y="55405"/>
                </a:lnTo>
                <a:cubicBezTo>
                  <a:pt x="16519" y="55405"/>
                  <a:pt x="16519" y="55405"/>
                  <a:pt x="16519" y="55405"/>
                </a:cubicBezTo>
                <a:cubicBezTo>
                  <a:pt x="16519" y="55405"/>
                  <a:pt x="16519" y="55808"/>
                  <a:pt x="16519" y="55808"/>
                </a:cubicBezTo>
                <a:cubicBezTo>
                  <a:pt x="20145" y="70312"/>
                  <a:pt x="33844" y="79982"/>
                  <a:pt x="48348" y="78773"/>
                </a:cubicBezTo>
                <a:cubicBezTo>
                  <a:pt x="49557" y="81191"/>
                  <a:pt x="50363" y="82802"/>
                  <a:pt x="50766" y="84817"/>
                </a:cubicBezTo>
                <a:cubicBezTo>
                  <a:pt x="51571" y="88846"/>
                  <a:pt x="50766" y="91666"/>
                  <a:pt x="48751" y="94889"/>
                </a:cubicBezTo>
                <a:cubicBezTo>
                  <a:pt x="45528" y="99321"/>
                  <a:pt x="39484" y="103753"/>
                  <a:pt x="33441" y="108991"/>
                </a:cubicBezTo>
                <a:cubicBezTo>
                  <a:pt x="30621" y="111408"/>
                  <a:pt x="27800" y="114632"/>
                  <a:pt x="26189" y="118258"/>
                </a:cubicBezTo>
                <a:cubicBezTo>
                  <a:pt x="24577" y="121884"/>
                  <a:pt x="23771" y="126316"/>
                  <a:pt x="24980" y="131150"/>
                </a:cubicBezTo>
                <a:cubicBezTo>
                  <a:pt x="26189" y="135985"/>
                  <a:pt x="29009" y="140820"/>
                  <a:pt x="33844" y="146461"/>
                </a:cubicBezTo>
                <a:cubicBezTo>
                  <a:pt x="20951" y="153713"/>
                  <a:pt x="806" y="162577"/>
                  <a:pt x="806" y="169829"/>
                </a:cubicBezTo>
                <a:lnTo>
                  <a:pt x="806" y="173455"/>
                </a:lnTo>
                <a:lnTo>
                  <a:pt x="8461" y="173455"/>
                </a:lnTo>
                <a:cubicBezTo>
                  <a:pt x="9670" y="173455"/>
                  <a:pt x="10878" y="174664"/>
                  <a:pt x="11281" y="176276"/>
                </a:cubicBezTo>
                <a:lnTo>
                  <a:pt x="15713" y="189168"/>
                </a:lnTo>
                <a:cubicBezTo>
                  <a:pt x="16116" y="190780"/>
                  <a:pt x="15713" y="191989"/>
                  <a:pt x="14907" y="191989"/>
                </a:cubicBezTo>
                <a:lnTo>
                  <a:pt x="403" y="191989"/>
                </a:lnTo>
                <a:lnTo>
                  <a:pt x="0" y="205687"/>
                </a:lnTo>
                <a:cubicBezTo>
                  <a:pt x="0" y="215357"/>
                  <a:pt x="8058" y="223415"/>
                  <a:pt x="17728" y="223415"/>
                </a:cubicBezTo>
                <a:lnTo>
                  <a:pt x="33441" y="223415"/>
                </a:lnTo>
                <a:cubicBezTo>
                  <a:pt x="33441" y="199644"/>
                  <a:pt x="52780" y="180305"/>
                  <a:pt x="76551" y="180305"/>
                </a:cubicBezTo>
                <a:cubicBezTo>
                  <a:pt x="100323" y="180305"/>
                  <a:pt x="119662" y="199644"/>
                  <a:pt x="119662" y="223415"/>
                </a:cubicBezTo>
                <a:lnTo>
                  <a:pt x="205883" y="223415"/>
                </a:lnTo>
                <a:cubicBezTo>
                  <a:pt x="205883" y="199644"/>
                  <a:pt x="225222" y="180305"/>
                  <a:pt x="248993" y="180305"/>
                </a:cubicBezTo>
                <a:cubicBezTo>
                  <a:pt x="272764" y="180305"/>
                  <a:pt x="292104" y="199644"/>
                  <a:pt x="292104" y="223415"/>
                </a:cubicBezTo>
                <a:lnTo>
                  <a:pt x="323933" y="223415"/>
                </a:lnTo>
                <a:cubicBezTo>
                  <a:pt x="333603" y="223415"/>
                  <a:pt x="341661" y="215357"/>
                  <a:pt x="341661" y="205284"/>
                </a:cubicBezTo>
                <a:lnTo>
                  <a:pt x="341661" y="198435"/>
                </a:lnTo>
                <a:lnTo>
                  <a:pt x="328365" y="198435"/>
                </a:lnTo>
                <a:lnTo>
                  <a:pt x="328365" y="173052"/>
                </a:lnTo>
                <a:lnTo>
                  <a:pt x="331991" y="171844"/>
                </a:lnTo>
                <a:close/>
                <a:moveTo>
                  <a:pt x="45931" y="74744"/>
                </a:moveTo>
                <a:cubicBezTo>
                  <a:pt x="33844" y="75147"/>
                  <a:pt x="22160" y="67089"/>
                  <a:pt x="19339" y="54599"/>
                </a:cubicBezTo>
                <a:cubicBezTo>
                  <a:pt x="19339" y="54599"/>
                  <a:pt x="19339" y="54196"/>
                  <a:pt x="19339" y="54196"/>
                </a:cubicBezTo>
                <a:cubicBezTo>
                  <a:pt x="19339" y="54196"/>
                  <a:pt x="19339" y="54196"/>
                  <a:pt x="19339" y="54196"/>
                </a:cubicBezTo>
                <a:lnTo>
                  <a:pt x="16922" y="44527"/>
                </a:lnTo>
                <a:cubicBezTo>
                  <a:pt x="15713" y="39289"/>
                  <a:pt x="16116" y="34051"/>
                  <a:pt x="25786" y="31634"/>
                </a:cubicBezTo>
                <a:lnTo>
                  <a:pt x="26189" y="32440"/>
                </a:lnTo>
                <a:cubicBezTo>
                  <a:pt x="22965" y="34051"/>
                  <a:pt x="19339" y="37677"/>
                  <a:pt x="20951" y="43721"/>
                </a:cubicBezTo>
                <a:lnTo>
                  <a:pt x="23368" y="53391"/>
                </a:lnTo>
                <a:cubicBezTo>
                  <a:pt x="23368" y="53391"/>
                  <a:pt x="23368" y="53391"/>
                  <a:pt x="23368" y="53391"/>
                </a:cubicBezTo>
                <a:cubicBezTo>
                  <a:pt x="23368" y="53391"/>
                  <a:pt x="23368" y="53793"/>
                  <a:pt x="23368" y="53793"/>
                </a:cubicBezTo>
                <a:cubicBezTo>
                  <a:pt x="26189" y="64672"/>
                  <a:pt x="36261" y="71521"/>
                  <a:pt x="47139" y="70715"/>
                </a:cubicBezTo>
                <a:lnTo>
                  <a:pt x="45931" y="74744"/>
                </a:lnTo>
                <a:close/>
                <a:moveTo>
                  <a:pt x="157937" y="133971"/>
                </a:moveTo>
                <a:cubicBezTo>
                  <a:pt x="157937" y="138000"/>
                  <a:pt x="154311" y="141223"/>
                  <a:pt x="149879" y="141223"/>
                </a:cubicBezTo>
                <a:lnTo>
                  <a:pt x="78969" y="141223"/>
                </a:lnTo>
                <a:cubicBezTo>
                  <a:pt x="74537" y="141223"/>
                  <a:pt x="72522" y="138403"/>
                  <a:pt x="74940" y="135180"/>
                </a:cubicBezTo>
                <a:lnTo>
                  <a:pt x="93876" y="106574"/>
                </a:lnTo>
                <a:cubicBezTo>
                  <a:pt x="96294" y="103350"/>
                  <a:pt x="101531" y="100530"/>
                  <a:pt x="106366" y="100530"/>
                </a:cubicBezTo>
                <a:lnTo>
                  <a:pt x="149879" y="100530"/>
                </a:lnTo>
                <a:cubicBezTo>
                  <a:pt x="154311" y="100530"/>
                  <a:pt x="157937" y="103753"/>
                  <a:pt x="157937" y="107782"/>
                </a:cubicBezTo>
                <a:lnTo>
                  <a:pt x="157937" y="133971"/>
                </a:lnTo>
                <a:close/>
                <a:moveTo>
                  <a:pt x="239726" y="141223"/>
                </a:moveTo>
                <a:lnTo>
                  <a:pt x="177680" y="141223"/>
                </a:lnTo>
                <a:cubicBezTo>
                  <a:pt x="173651" y="141223"/>
                  <a:pt x="170427" y="138000"/>
                  <a:pt x="170427" y="133971"/>
                </a:cubicBezTo>
                <a:lnTo>
                  <a:pt x="170427" y="107379"/>
                </a:lnTo>
                <a:cubicBezTo>
                  <a:pt x="170427" y="103350"/>
                  <a:pt x="173651" y="100127"/>
                  <a:pt x="177680" y="100127"/>
                </a:cubicBezTo>
                <a:lnTo>
                  <a:pt x="215955" y="100127"/>
                </a:lnTo>
                <a:cubicBezTo>
                  <a:pt x="219984" y="100127"/>
                  <a:pt x="224819" y="102947"/>
                  <a:pt x="226834" y="106171"/>
                </a:cubicBezTo>
                <a:lnTo>
                  <a:pt x="243353" y="134777"/>
                </a:lnTo>
                <a:cubicBezTo>
                  <a:pt x="245367" y="138403"/>
                  <a:pt x="243755" y="141223"/>
                  <a:pt x="239726" y="141223"/>
                </a:cubicBezTo>
                <a:close/>
                <a:moveTo>
                  <a:pt x="249396" y="184736"/>
                </a:moveTo>
                <a:cubicBezTo>
                  <a:pt x="228848" y="184736"/>
                  <a:pt x="212329" y="201255"/>
                  <a:pt x="212329" y="221803"/>
                </a:cubicBezTo>
                <a:cubicBezTo>
                  <a:pt x="212329" y="242351"/>
                  <a:pt x="228848" y="258870"/>
                  <a:pt x="249396" y="258870"/>
                </a:cubicBezTo>
                <a:cubicBezTo>
                  <a:pt x="269944" y="258870"/>
                  <a:pt x="286463" y="242351"/>
                  <a:pt x="286463" y="221803"/>
                </a:cubicBezTo>
                <a:cubicBezTo>
                  <a:pt x="286463" y="201658"/>
                  <a:pt x="269944" y="184736"/>
                  <a:pt x="249396" y="184736"/>
                </a:cubicBezTo>
                <a:close/>
                <a:moveTo>
                  <a:pt x="249396" y="243157"/>
                </a:moveTo>
                <a:cubicBezTo>
                  <a:pt x="237712" y="243157"/>
                  <a:pt x="228445" y="233890"/>
                  <a:pt x="228445" y="222206"/>
                </a:cubicBezTo>
                <a:cubicBezTo>
                  <a:pt x="228445" y="210522"/>
                  <a:pt x="237712" y="201255"/>
                  <a:pt x="249396" y="201255"/>
                </a:cubicBezTo>
                <a:cubicBezTo>
                  <a:pt x="261080" y="201255"/>
                  <a:pt x="270347" y="210522"/>
                  <a:pt x="270347" y="222206"/>
                </a:cubicBezTo>
                <a:cubicBezTo>
                  <a:pt x="270347" y="233488"/>
                  <a:pt x="260677" y="243157"/>
                  <a:pt x="249396" y="243157"/>
                </a:cubicBezTo>
                <a:close/>
                <a:moveTo>
                  <a:pt x="18936" y="12698"/>
                </a:moveTo>
                <a:cubicBezTo>
                  <a:pt x="18131" y="9877"/>
                  <a:pt x="19742" y="7460"/>
                  <a:pt x="22562" y="6654"/>
                </a:cubicBezTo>
                <a:cubicBezTo>
                  <a:pt x="25383" y="5848"/>
                  <a:pt x="27800" y="7460"/>
                  <a:pt x="28606" y="10280"/>
                </a:cubicBezTo>
                <a:lnTo>
                  <a:pt x="31426" y="21561"/>
                </a:lnTo>
                <a:lnTo>
                  <a:pt x="21757" y="23979"/>
                </a:lnTo>
                <a:lnTo>
                  <a:pt x="18936" y="12698"/>
                </a:lnTo>
                <a:close/>
                <a:moveTo>
                  <a:pt x="44722" y="6251"/>
                </a:moveTo>
                <a:cubicBezTo>
                  <a:pt x="43916" y="3431"/>
                  <a:pt x="45528" y="1013"/>
                  <a:pt x="48348" y="207"/>
                </a:cubicBezTo>
                <a:cubicBezTo>
                  <a:pt x="51169" y="-598"/>
                  <a:pt x="53586" y="1013"/>
                  <a:pt x="54392" y="3834"/>
                </a:cubicBezTo>
                <a:lnTo>
                  <a:pt x="57212" y="15115"/>
                </a:lnTo>
                <a:lnTo>
                  <a:pt x="47542" y="17532"/>
                </a:lnTo>
                <a:lnTo>
                  <a:pt x="44722" y="6251"/>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 name="Graphic 4">
            <a:extLst>
              <a:ext uri="{FF2B5EF4-FFF2-40B4-BE49-F238E27FC236}">
                <a16:creationId xmlns:a16="http://schemas.microsoft.com/office/drawing/2014/main" id="{423838E8-3B11-A6BE-A3A9-01EB41452B4A}"/>
              </a:ext>
            </a:extLst>
          </p:cNvPr>
          <p:cNvGrpSpPr/>
          <p:nvPr/>
        </p:nvGrpSpPr>
        <p:grpSpPr>
          <a:xfrm>
            <a:off x="4459298" y="3852837"/>
            <a:ext cx="592437" cy="616179"/>
            <a:chOff x="3561922" y="3338408"/>
            <a:chExt cx="468352" cy="509380"/>
          </a:xfrm>
          <a:solidFill>
            <a:schemeClr val="tx2"/>
          </a:solidFill>
        </p:grpSpPr>
        <p:grpSp>
          <p:nvGrpSpPr>
            <p:cNvPr id="6" name="Graphic 4">
              <a:extLst>
                <a:ext uri="{FF2B5EF4-FFF2-40B4-BE49-F238E27FC236}">
                  <a16:creationId xmlns:a16="http://schemas.microsoft.com/office/drawing/2014/main" id="{290A768C-4218-9ABF-B91E-C51FE3100DAF}"/>
                </a:ext>
              </a:extLst>
            </p:cNvPr>
            <p:cNvGrpSpPr/>
            <p:nvPr/>
          </p:nvGrpSpPr>
          <p:grpSpPr>
            <a:xfrm>
              <a:off x="3561922" y="3481691"/>
              <a:ext cx="468352" cy="222183"/>
              <a:chOff x="3561922" y="3481691"/>
              <a:chExt cx="468352" cy="222183"/>
            </a:xfrm>
            <a:grpFill/>
          </p:grpSpPr>
          <p:grpSp>
            <p:nvGrpSpPr>
              <p:cNvPr id="40" name="Graphic 4">
                <a:extLst>
                  <a:ext uri="{FF2B5EF4-FFF2-40B4-BE49-F238E27FC236}">
                    <a16:creationId xmlns:a16="http://schemas.microsoft.com/office/drawing/2014/main" id="{82FA8B72-288F-23E9-C447-BDC639E15F0D}"/>
                  </a:ext>
                </a:extLst>
              </p:cNvPr>
              <p:cNvGrpSpPr/>
              <p:nvPr/>
            </p:nvGrpSpPr>
            <p:grpSpPr>
              <a:xfrm>
                <a:off x="3761086" y="3522088"/>
                <a:ext cx="70691" cy="142020"/>
                <a:chOff x="3761086" y="3522088"/>
                <a:chExt cx="70691" cy="142020"/>
              </a:xfrm>
              <a:grpFill/>
            </p:grpSpPr>
            <p:sp>
              <p:nvSpPr>
                <p:cNvPr id="52" name="Freeform 2055">
                  <a:extLst>
                    <a:ext uri="{FF2B5EF4-FFF2-40B4-BE49-F238E27FC236}">
                      <a16:creationId xmlns:a16="http://schemas.microsoft.com/office/drawing/2014/main" id="{FE29A876-CF53-7539-4F57-827BDB976204}"/>
                    </a:ext>
                  </a:extLst>
                </p:cNvPr>
                <p:cNvSpPr/>
                <p:nvPr/>
              </p:nvSpPr>
              <p:spPr>
                <a:xfrm>
                  <a:off x="3761086" y="3541655"/>
                  <a:ext cx="70691" cy="102254"/>
                </a:xfrm>
                <a:custGeom>
                  <a:avLst/>
                  <a:gdLst>
                    <a:gd name="connsiteX0" fmla="*/ 34380 w 70691"/>
                    <a:gd name="connsiteY0" fmla="*/ 102255 h 102254"/>
                    <a:gd name="connsiteX1" fmla="*/ 1558 w 70691"/>
                    <a:gd name="connsiteY1" fmla="*/ 85843 h 102254"/>
                    <a:gd name="connsiteX2" fmla="*/ 2820 w 70691"/>
                    <a:gd name="connsiteY2" fmla="*/ 76375 h 102254"/>
                    <a:gd name="connsiteX3" fmla="*/ 12288 w 70691"/>
                    <a:gd name="connsiteY3" fmla="*/ 77638 h 102254"/>
                    <a:gd name="connsiteX4" fmla="*/ 48267 w 70691"/>
                    <a:gd name="connsiteY4" fmla="*/ 85843 h 102254"/>
                    <a:gd name="connsiteX5" fmla="*/ 48898 w 70691"/>
                    <a:gd name="connsiteY5" fmla="*/ 85843 h 102254"/>
                    <a:gd name="connsiteX6" fmla="*/ 55841 w 70691"/>
                    <a:gd name="connsiteY6" fmla="*/ 72588 h 102254"/>
                    <a:gd name="connsiteX7" fmla="*/ 45111 w 70691"/>
                    <a:gd name="connsiteY7" fmla="*/ 59333 h 102254"/>
                    <a:gd name="connsiteX8" fmla="*/ 21756 w 70691"/>
                    <a:gd name="connsiteY8" fmla="*/ 52390 h 102254"/>
                    <a:gd name="connsiteX9" fmla="*/ 1558 w 70691"/>
                    <a:gd name="connsiteY9" fmla="*/ 26511 h 102254"/>
                    <a:gd name="connsiteX10" fmla="*/ 36905 w 70691"/>
                    <a:gd name="connsiteY10" fmla="*/ 0 h 102254"/>
                    <a:gd name="connsiteX11" fmla="*/ 70359 w 70691"/>
                    <a:gd name="connsiteY11" fmla="*/ 23355 h 102254"/>
                    <a:gd name="connsiteX12" fmla="*/ 65941 w 70691"/>
                    <a:gd name="connsiteY12" fmla="*/ 31560 h 102254"/>
                    <a:gd name="connsiteX13" fmla="*/ 57735 w 70691"/>
                    <a:gd name="connsiteY13" fmla="*/ 27142 h 102254"/>
                    <a:gd name="connsiteX14" fmla="*/ 36905 w 70691"/>
                    <a:gd name="connsiteY14" fmla="*/ 13887 h 102254"/>
                    <a:gd name="connsiteX15" fmla="*/ 15444 w 70691"/>
                    <a:gd name="connsiteY15" fmla="*/ 26511 h 102254"/>
                    <a:gd name="connsiteX16" fmla="*/ 26175 w 70691"/>
                    <a:gd name="connsiteY16" fmla="*/ 39135 h 102254"/>
                    <a:gd name="connsiteX17" fmla="*/ 49529 w 70691"/>
                    <a:gd name="connsiteY17" fmla="*/ 46078 h 102254"/>
                    <a:gd name="connsiteX18" fmla="*/ 70359 w 70691"/>
                    <a:gd name="connsiteY18" fmla="*/ 71326 h 102254"/>
                    <a:gd name="connsiteX19" fmla="*/ 55210 w 70691"/>
                    <a:gd name="connsiteY19" fmla="*/ 98467 h 102254"/>
                    <a:gd name="connsiteX20" fmla="*/ 34380 w 70691"/>
                    <a:gd name="connsiteY20" fmla="*/ 102255 h 10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691" h="102254">
                      <a:moveTo>
                        <a:pt x="34380" y="102255"/>
                      </a:moveTo>
                      <a:cubicBezTo>
                        <a:pt x="23650" y="102255"/>
                        <a:pt x="11657" y="98467"/>
                        <a:pt x="1558" y="85843"/>
                      </a:cubicBezTo>
                      <a:cubicBezTo>
                        <a:pt x="-967" y="82687"/>
                        <a:pt x="-336" y="78269"/>
                        <a:pt x="2820" y="76375"/>
                      </a:cubicBezTo>
                      <a:cubicBezTo>
                        <a:pt x="5976" y="73851"/>
                        <a:pt x="10395" y="74482"/>
                        <a:pt x="12288" y="77638"/>
                      </a:cubicBezTo>
                      <a:cubicBezTo>
                        <a:pt x="26175" y="95943"/>
                        <a:pt x="45742" y="86475"/>
                        <a:pt x="48267" y="85843"/>
                      </a:cubicBezTo>
                      <a:cubicBezTo>
                        <a:pt x="48267" y="85843"/>
                        <a:pt x="48898" y="85843"/>
                        <a:pt x="48898" y="85843"/>
                      </a:cubicBezTo>
                      <a:cubicBezTo>
                        <a:pt x="49529" y="85843"/>
                        <a:pt x="56473" y="82056"/>
                        <a:pt x="55841" y="72588"/>
                      </a:cubicBezTo>
                      <a:cubicBezTo>
                        <a:pt x="54579" y="61858"/>
                        <a:pt x="45111" y="59333"/>
                        <a:pt x="45111" y="59333"/>
                      </a:cubicBezTo>
                      <a:lnTo>
                        <a:pt x="21756" y="52390"/>
                      </a:lnTo>
                      <a:cubicBezTo>
                        <a:pt x="4714" y="47340"/>
                        <a:pt x="1558" y="35347"/>
                        <a:pt x="1558" y="26511"/>
                      </a:cubicBezTo>
                      <a:cubicBezTo>
                        <a:pt x="1558" y="20199"/>
                        <a:pt x="4714" y="0"/>
                        <a:pt x="36905" y="0"/>
                      </a:cubicBezTo>
                      <a:cubicBezTo>
                        <a:pt x="58366" y="0"/>
                        <a:pt x="68466" y="15149"/>
                        <a:pt x="70359" y="23355"/>
                      </a:cubicBezTo>
                      <a:cubicBezTo>
                        <a:pt x="71622" y="27142"/>
                        <a:pt x="69097" y="30929"/>
                        <a:pt x="65941" y="31560"/>
                      </a:cubicBezTo>
                      <a:cubicBezTo>
                        <a:pt x="62153" y="32823"/>
                        <a:pt x="58366" y="30298"/>
                        <a:pt x="57735" y="27142"/>
                      </a:cubicBezTo>
                      <a:cubicBezTo>
                        <a:pt x="57104" y="25879"/>
                        <a:pt x="53316" y="13887"/>
                        <a:pt x="36905" y="13887"/>
                      </a:cubicBezTo>
                      <a:cubicBezTo>
                        <a:pt x="23019" y="13887"/>
                        <a:pt x="16075" y="18305"/>
                        <a:pt x="15444" y="26511"/>
                      </a:cubicBezTo>
                      <a:cubicBezTo>
                        <a:pt x="15444" y="31560"/>
                        <a:pt x="16707" y="36610"/>
                        <a:pt x="26175" y="39135"/>
                      </a:cubicBezTo>
                      <a:lnTo>
                        <a:pt x="49529" y="46078"/>
                      </a:lnTo>
                      <a:cubicBezTo>
                        <a:pt x="50160" y="46078"/>
                        <a:pt x="68466" y="51759"/>
                        <a:pt x="70359" y="71326"/>
                      </a:cubicBezTo>
                      <a:cubicBezTo>
                        <a:pt x="71622" y="87106"/>
                        <a:pt x="61522" y="95943"/>
                        <a:pt x="55210" y="98467"/>
                      </a:cubicBezTo>
                      <a:cubicBezTo>
                        <a:pt x="50160" y="100361"/>
                        <a:pt x="42586" y="102255"/>
                        <a:pt x="34380" y="102255"/>
                      </a:cubicBezTo>
                      <a:close/>
                    </a:path>
                  </a:pathLst>
                </a:custGeom>
                <a:grpFill/>
                <a:ln w="4028" cap="flat">
                  <a:noFill/>
                  <a:prstDash val="solid"/>
                  <a:miter/>
                </a:ln>
              </p:spPr>
              <p:txBody>
                <a:bodyPr rtlCol="0" anchor="ctr"/>
                <a:lstStyle/>
                <a:p>
                  <a:endParaRPr lang="en-US" dirty="0">
                    <a:ln>
                      <a:solidFill>
                        <a:schemeClr val="tx1"/>
                      </a:solidFill>
                    </a:ln>
                    <a:solidFill>
                      <a:srgbClr val="000000"/>
                    </a:solidFill>
                    <a:latin typeface="Arial"/>
                  </a:endParaRPr>
                </a:p>
              </p:txBody>
            </p:sp>
            <p:sp>
              <p:nvSpPr>
                <p:cNvPr id="53" name="Freeform 2056">
                  <a:extLst>
                    <a:ext uri="{FF2B5EF4-FFF2-40B4-BE49-F238E27FC236}">
                      <a16:creationId xmlns:a16="http://schemas.microsoft.com/office/drawing/2014/main" id="{BDC17D07-E939-E7D6-B905-94AAFC230F14}"/>
                    </a:ext>
                  </a:extLst>
                </p:cNvPr>
                <p:cNvSpPr/>
                <p:nvPr/>
              </p:nvSpPr>
              <p:spPr>
                <a:xfrm>
                  <a:off x="3789786" y="3522088"/>
                  <a:ext cx="13886" cy="32822"/>
                </a:xfrm>
                <a:custGeom>
                  <a:avLst/>
                  <a:gdLst>
                    <a:gd name="connsiteX0" fmla="*/ 6943 w 13886"/>
                    <a:gd name="connsiteY0" fmla="*/ 32823 h 32822"/>
                    <a:gd name="connsiteX1" fmla="*/ 0 w 13886"/>
                    <a:gd name="connsiteY1" fmla="*/ 25880 h 32822"/>
                    <a:gd name="connsiteX2" fmla="*/ 0 w 13886"/>
                    <a:gd name="connsiteY2" fmla="*/ 6943 h 32822"/>
                    <a:gd name="connsiteX3" fmla="*/ 6943 w 13886"/>
                    <a:gd name="connsiteY3" fmla="*/ 0 h 32822"/>
                    <a:gd name="connsiteX4" fmla="*/ 13887 w 13886"/>
                    <a:gd name="connsiteY4" fmla="*/ 6943 h 32822"/>
                    <a:gd name="connsiteX5" fmla="*/ 13887 w 13886"/>
                    <a:gd name="connsiteY5" fmla="*/ 25880 h 32822"/>
                    <a:gd name="connsiteX6" fmla="*/ 6943 w 13886"/>
                    <a:gd name="connsiteY6" fmla="*/ 32823 h 3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32822">
                      <a:moveTo>
                        <a:pt x="6943" y="32823"/>
                      </a:moveTo>
                      <a:cubicBezTo>
                        <a:pt x="3156" y="32823"/>
                        <a:pt x="0" y="29667"/>
                        <a:pt x="0" y="25880"/>
                      </a:cubicBezTo>
                      <a:lnTo>
                        <a:pt x="0" y="6943"/>
                      </a:lnTo>
                      <a:cubicBezTo>
                        <a:pt x="0" y="3156"/>
                        <a:pt x="3156" y="0"/>
                        <a:pt x="6943" y="0"/>
                      </a:cubicBezTo>
                      <a:cubicBezTo>
                        <a:pt x="10731" y="0"/>
                        <a:pt x="13887" y="3156"/>
                        <a:pt x="13887" y="6943"/>
                      </a:cubicBezTo>
                      <a:lnTo>
                        <a:pt x="13887" y="25880"/>
                      </a:lnTo>
                      <a:cubicBezTo>
                        <a:pt x="13887" y="29667"/>
                        <a:pt x="10731" y="32823"/>
                        <a:pt x="6943" y="32823"/>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54" name="Freeform 2057">
                  <a:extLst>
                    <a:ext uri="{FF2B5EF4-FFF2-40B4-BE49-F238E27FC236}">
                      <a16:creationId xmlns:a16="http://schemas.microsoft.com/office/drawing/2014/main" id="{285F43FD-32BB-27CA-2604-AD94F0EE460E}"/>
                    </a:ext>
                  </a:extLst>
                </p:cNvPr>
                <p:cNvSpPr/>
                <p:nvPr/>
              </p:nvSpPr>
              <p:spPr>
                <a:xfrm>
                  <a:off x="3789786" y="3631286"/>
                  <a:ext cx="13886" cy="32822"/>
                </a:xfrm>
                <a:custGeom>
                  <a:avLst/>
                  <a:gdLst>
                    <a:gd name="connsiteX0" fmla="*/ 6943 w 13886"/>
                    <a:gd name="connsiteY0" fmla="*/ 32822 h 32822"/>
                    <a:gd name="connsiteX1" fmla="*/ 0 w 13886"/>
                    <a:gd name="connsiteY1" fmla="*/ 25879 h 32822"/>
                    <a:gd name="connsiteX2" fmla="*/ 0 w 13886"/>
                    <a:gd name="connsiteY2" fmla="*/ 6943 h 32822"/>
                    <a:gd name="connsiteX3" fmla="*/ 6943 w 13886"/>
                    <a:gd name="connsiteY3" fmla="*/ 0 h 32822"/>
                    <a:gd name="connsiteX4" fmla="*/ 13887 w 13886"/>
                    <a:gd name="connsiteY4" fmla="*/ 6943 h 32822"/>
                    <a:gd name="connsiteX5" fmla="*/ 13887 w 13886"/>
                    <a:gd name="connsiteY5" fmla="*/ 25879 h 32822"/>
                    <a:gd name="connsiteX6" fmla="*/ 6943 w 13886"/>
                    <a:gd name="connsiteY6" fmla="*/ 32822 h 3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32822">
                      <a:moveTo>
                        <a:pt x="6943" y="32822"/>
                      </a:moveTo>
                      <a:cubicBezTo>
                        <a:pt x="3156" y="32822"/>
                        <a:pt x="0" y="29666"/>
                        <a:pt x="0" y="25879"/>
                      </a:cubicBezTo>
                      <a:lnTo>
                        <a:pt x="0" y="6943"/>
                      </a:lnTo>
                      <a:cubicBezTo>
                        <a:pt x="0" y="3156"/>
                        <a:pt x="3156" y="0"/>
                        <a:pt x="6943" y="0"/>
                      </a:cubicBezTo>
                      <a:cubicBezTo>
                        <a:pt x="10731" y="0"/>
                        <a:pt x="13887" y="3156"/>
                        <a:pt x="13887" y="6943"/>
                      </a:cubicBezTo>
                      <a:lnTo>
                        <a:pt x="13887" y="25879"/>
                      </a:lnTo>
                      <a:cubicBezTo>
                        <a:pt x="13887" y="29666"/>
                        <a:pt x="10731" y="32822"/>
                        <a:pt x="6943" y="32822"/>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grpSp>
          <p:grpSp>
            <p:nvGrpSpPr>
              <p:cNvPr id="44" name="Graphic 4">
                <a:extLst>
                  <a:ext uri="{FF2B5EF4-FFF2-40B4-BE49-F238E27FC236}">
                    <a16:creationId xmlns:a16="http://schemas.microsoft.com/office/drawing/2014/main" id="{D7424438-A08D-6B88-4331-87F84EF49E87}"/>
                  </a:ext>
                </a:extLst>
              </p:cNvPr>
              <p:cNvGrpSpPr/>
              <p:nvPr/>
            </p:nvGrpSpPr>
            <p:grpSpPr>
              <a:xfrm>
                <a:off x="3561922" y="3481691"/>
                <a:ext cx="468352" cy="222183"/>
                <a:chOff x="3561922" y="3481691"/>
                <a:chExt cx="468352" cy="222183"/>
              </a:xfrm>
              <a:grpFill/>
            </p:grpSpPr>
            <p:sp>
              <p:nvSpPr>
                <p:cNvPr id="46" name="Freeform 2050">
                  <a:extLst>
                    <a:ext uri="{FF2B5EF4-FFF2-40B4-BE49-F238E27FC236}">
                      <a16:creationId xmlns:a16="http://schemas.microsoft.com/office/drawing/2014/main" id="{E657A82F-0E5C-724C-2233-96C460610461}"/>
                    </a:ext>
                  </a:extLst>
                </p:cNvPr>
                <p:cNvSpPr/>
                <p:nvPr/>
              </p:nvSpPr>
              <p:spPr>
                <a:xfrm>
                  <a:off x="3561922" y="3481691"/>
                  <a:ext cx="468352" cy="222183"/>
                </a:xfrm>
                <a:custGeom>
                  <a:avLst/>
                  <a:gdLst>
                    <a:gd name="connsiteX0" fmla="*/ 412807 w 468352"/>
                    <a:gd name="connsiteY0" fmla="*/ 222183 h 222183"/>
                    <a:gd name="connsiteX1" fmla="*/ 54915 w 468352"/>
                    <a:gd name="connsiteY1" fmla="*/ 222183 h 222183"/>
                    <a:gd name="connsiteX2" fmla="*/ 47971 w 468352"/>
                    <a:gd name="connsiteY2" fmla="*/ 215240 h 222183"/>
                    <a:gd name="connsiteX3" fmla="*/ 47971 w 468352"/>
                    <a:gd name="connsiteY3" fmla="*/ 214609 h 222183"/>
                    <a:gd name="connsiteX4" fmla="*/ 6943 w 468352"/>
                    <a:gd name="connsiteY4" fmla="*/ 172949 h 222183"/>
                    <a:gd name="connsiteX5" fmla="*/ 0 w 468352"/>
                    <a:gd name="connsiteY5" fmla="*/ 166006 h 222183"/>
                    <a:gd name="connsiteX6" fmla="*/ 0 w 468352"/>
                    <a:gd name="connsiteY6" fmla="*/ 54915 h 222183"/>
                    <a:gd name="connsiteX7" fmla="*/ 6943 w 468352"/>
                    <a:gd name="connsiteY7" fmla="*/ 47971 h 222183"/>
                    <a:gd name="connsiteX8" fmla="*/ 47971 w 468352"/>
                    <a:gd name="connsiteY8" fmla="*/ 6943 h 222183"/>
                    <a:gd name="connsiteX9" fmla="*/ 54915 w 468352"/>
                    <a:gd name="connsiteY9" fmla="*/ 0 h 222183"/>
                    <a:gd name="connsiteX10" fmla="*/ 412807 w 468352"/>
                    <a:gd name="connsiteY10" fmla="*/ 0 h 222183"/>
                    <a:gd name="connsiteX11" fmla="*/ 419750 w 468352"/>
                    <a:gd name="connsiteY11" fmla="*/ 6943 h 222183"/>
                    <a:gd name="connsiteX12" fmla="*/ 461409 w 468352"/>
                    <a:gd name="connsiteY12" fmla="*/ 47971 h 222183"/>
                    <a:gd name="connsiteX13" fmla="*/ 468352 w 468352"/>
                    <a:gd name="connsiteY13" fmla="*/ 54915 h 222183"/>
                    <a:gd name="connsiteX14" fmla="*/ 468352 w 468352"/>
                    <a:gd name="connsiteY14" fmla="*/ 165375 h 222183"/>
                    <a:gd name="connsiteX15" fmla="*/ 461409 w 468352"/>
                    <a:gd name="connsiteY15" fmla="*/ 172318 h 222183"/>
                    <a:gd name="connsiteX16" fmla="*/ 419750 w 468352"/>
                    <a:gd name="connsiteY16" fmla="*/ 214609 h 222183"/>
                    <a:gd name="connsiteX17" fmla="*/ 412807 w 468352"/>
                    <a:gd name="connsiteY17" fmla="*/ 222183 h 222183"/>
                    <a:gd name="connsiteX18" fmla="*/ 61227 w 468352"/>
                    <a:gd name="connsiteY18" fmla="*/ 208297 h 222183"/>
                    <a:gd name="connsiteX19" fmla="*/ 405863 w 468352"/>
                    <a:gd name="connsiteY19" fmla="*/ 208297 h 222183"/>
                    <a:gd name="connsiteX20" fmla="*/ 453835 w 468352"/>
                    <a:gd name="connsiteY20" fmla="*/ 159694 h 222183"/>
                    <a:gd name="connsiteX21" fmla="*/ 453835 w 468352"/>
                    <a:gd name="connsiteY21" fmla="*/ 61858 h 222183"/>
                    <a:gd name="connsiteX22" fmla="*/ 405863 w 468352"/>
                    <a:gd name="connsiteY22" fmla="*/ 14518 h 222183"/>
                    <a:gd name="connsiteX23" fmla="*/ 60595 w 468352"/>
                    <a:gd name="connsiteY23" fmla="*/ 14518 h 222183"/>
                    <a:gd name="connsiteX24" fmla="*/ 13255 w 468352"/>
                    <a:gd name="connsiteY24" fmla="*/ 61858 h 222183"/>
                    <a:gd name="connsiteX25" fmla="*/ 13255 w 468352"/>
                    <a:gd name="connsiteY25" fmla="*/ 160325 h 222183"/>
                    <a:gd name="connsiteX26" fmla="*/ 61227 w 468352"/>
                    <a:gd name="connsiteY26" fmla="*/ 208297 h 222183"/>
                    <a:gd name="connsiteX27" fmla="*/ 461409 w 468352"/>
                    <a:gd name="connsiteY27" fmla="*/ 166006 h 222183"/>
                    <a:gd name="connsiteX28" fmla="*/ 461409 w 468352"/>
                    <a:gd name="connsiteY28" fmla="*/ 166006 h 222183"/>
                    <a:gd name="connsiteX29" fmla="*/ 461409 w 468352"/>
                    <a:gd name="connsiteY29" fmla="*/ 166006 h 22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68352" h="222183">
                      <a:moveTo>
                        <a:pt x="412807" y="222183"/>
                      </a:moveTo>
                      <a:lnTo>
                        <a:pt x="54915" y="222183"/>
                      </a:lnTo>
                      <a:cubicBezTo>
                        <a:pt x="51127" y="222183"/>
                        <a:pt x="47971" y="219027"/>
                        <a:pt x="47971" y="215240"/>
                      </a:cubicBezTo>
                      <a:cubicBezTo>
                        <a:pt x="47971" y="215240"/>
                        <a:pt x="47971" y="214609"/>
                        <a:pt x="47971" y="214609"/>
                      </a:cubicBezTo>
                      <a:cubicBezTo>
                        <a:pt x="47971" y="191885"/>
                        <a:pt x="29667" y="173581"/>
                        <a:pt x="6943" y="172949"/>
                      </a:cubicBezTo>
                      <a:cubicBezTo>
                        <a:pt x="3156" y="172949"/>
                        <a:pt x="0" y="169793"/>
                        <a:pt x="0" y="166006"/>
                      </a:cubicBezTo>
                      <a:lnTo>
                        <a:pt x="0" y="54915"/>
                      </a:lnTo>
                      <a:cubicBezTo>
                        <a:pt x="0" y="51127"/>
                        <a:pt x="3156" y="47971"/>
                        <a:pt x="6943" y="47971"/>
                      </a:cubicBezTo>
                      <a:cubicBezTo>
                        <a:pt x="29035" y="47340"/>
                        <a:pt x="47340" y="29035"/>
                        <a:pt x="47971" y="6943"/>
                      </a:cubicBezTo>
                      <a:cubicBezTo>
                        <a:pt x="47971" y="3156"/>
                        <a:pt x="51127" y="0"/>
                        <a:pt x="54915" y="0"/>
                      </a:cubicBezTo>
                      <a:lnTo>
                        <a:pt x="412807" y="0"/>
                      </a:lnTo>
                      <a:cubicBezTo>
                        <a:pt x="416594" y="0"/>
                        <a:pt x="419750" y="3156"/>
                        <a:pt x="419750" y="6943"/>
                      </a:cubicBezTo>
                      <a:cubicBezTo>
                        <a:pt x="420381" y="29667"/>
                        <a:pt x="438686" y="47971"/>
                        <a:pt x="461409" y="47971"/>
                      </a:cubicBezTo>
                      <a:cubicBezTo>
                        <a:pt x="465196" y="47971"/>
                        <a:pt x="468352" y="51127"/>
                        <a:pt x="468352" y="54915"/>
                      </a:cubicBezTo>
                      <a:lnTo>
                        <a:pt x="468352" y="165375"/>
                      </a:lnTo>
                      <a:cubicBezTo>
                        <a:pt x="468352" y="169162"/>
                        <a:pt x="465196" y="172318"/>
                        <a:pt x="461409" y="172318"/>
                      </a:cubicBezTo>
                      <a:cubicBezTo>
                        <a:pt x="438055" y="172318"/>
                        <a:pt x="419750" y="191885"/>
                        <a:pt x="419750" y="214609"/>
                      </a:cubicBezTo>
                      <a:cubicBezTo>
                        <a:pt x="419750" y="219027"/>
                        <a:pt x="416594" y="222183"/>
                        <a:pt x="412807" y="222183"/>
                      </a:cubicBezTo>
                      <a:close/>
                      <a:moveTo>
                        <a:pt x="61227" y="208297"/>
                      </a:moveTo>
                      <a:lnTo>
                        <a:pt x="405863" y="208297"/>
                      </a:lnTo>
                      <a:cubicBezTo>
                        <a:pt x="409019" y="183049"/>
                        <a:pt x="429218" y="162850"/>
                        <a:pt x="453835" y="159694"/>
                      </a:cubicBezTo>
                      <a:lnTo>
                        <a:pt x="453835" y="61858"/>
                      </a:lnTo>
                      <a:cubicBezTo>
                        <a:pt x="429218" y="58702"/>
                        <a:pt x="409651" y="39135"/>
                        <a:pt x="405863" y="14518"/>
                      </a:cubicBezTo>
                      <a:lnTo>
                        <a:pt x="60595" y="14518"/>
                      </a:lnTo>
                      <a:cubicBezTo>
                        <a:pt x="56808" y="38503"/>
                        <a:pt x="37872" y="58071"/>
                        <a:pt x="13255" y="61858"/>
                      </a:cubicBezTo>
                      <a:lnTo>
                        <a:pt x="13255" y="160325"/>
                      </a:lnTo>
                      <a:cubicBezTo>
                        <a:pt x="39135" y="163481"/>
                        <a:pt x="58702" y="183049"/>
                        <a:pt x="61227" y="208297"/>
                      </a:cubicBezTo>
                      <a:close/>
                      <a:moveTo>
                        <a:pt x="461409" y="166006"/>
                      </a:moveTo>
                      <a:lnTo>
                        <a:pt x="461409" y="166006"/>
                      </a:lnTo>
                      <a:lnTo>
                        <a:pt x="461409" y="166006"/>
                      </a:ln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48" name="Freeform 2051">
                  <a:extLst>
                    <a:ext uri="{FF2B5EF4-FFF2-40B4-BE49-F238E27FC236}">
                      <a16:creationId xmlns:a16="http://schemas.microsoft.com/office/drawing/2014/main" id="{6FE3199F-AC32-2F21-2EAC-4BFA2F2B88A1}"/>
                    </a:ext>
                  </a:extLst>
                </p:cNvPr>
                <p:cNvSpPr/>
                <p:nvPr/>
              </p:nvSpPr>
              <p:spPr>
                <a:xfrm>
                  <a:off x="3562553" y="3482322"/>
                  <a:ext cx="61226" cy="61226"/>
                </a:xfrm>
                <a:custGeom>
                  <a:avLst/>
                  <a:gdLst>
                    <a:gd name="connsiteX0" fmla="*/ 6943 w 61226"/>
                    <a:gd name="connsiteY0" fmla="*/ 61227 h 61226"/>
                    <a:gd name="connsiteX1" fmla="*/ 1894 w 61226"/>
                    <a:gd name="connsiteY1" fmla="*/ 59333 h 61226"/>
                    <a:gd name="connsiteX2" fmla="*/ 0 w 61226"/>
                    <a:gd name="connsiteY2" fmla="*/ 54284 h 61226"/>
                    <a:gd name="connsiteX3" fmla="*/ 0 w 61226"/>
                    <a:gd name="connsiteY3" fmla="*/ 6943 h 61226"/>
                    <a:gd name="connsiteX4" fmla="*/ 6943 w 61226"/>
                    <a:gd name="connsiteY4" fmla="*/ 0 h 61226"/>
                    <a:gd name="connsiteX5" fmla="*/ 54284 w 61226"/>
                    <a:gd name="connsiteY5" fmla="*/ 0 h 61226"/>
                    <a:gd name="connsiteX6" fmla="*/ 59333 w 61226"/>
                    <a:gd name="connsiteY6" fmla="*/ 1894 h 61226"/>
                    <a:gd name="connsiteX7" fmla="*/ 61227 w 61226"/>
                    <a:gd name="connsiteY7" fmla="*/ 6943 h 61226"/>
                    <a:gd name="connsiteX8" fmla="*/ 6943 w 61226"/>
                    <a:gd name="connsiteY8" fmla="*/ 61227 h 61226"/>
                    <a:gd name="connsiteX9" fmla="*/ 6943 w 61226"/>
                    <a:gd name="connsiteY9" fmla="*/ 61227 h 61226"/>
                    <a:gd name="connsiteX10" fmla="*/ 13255 w 61226"/>
                    <a:gd name="connsiteY10" fmla="*/ 13887 h 61226"/>
                    <a:gd name="connsiteX11" fmla="*/ 13255 w 61226"/>
                    <a:gd name="connsiteY11" fmla="*/ 46709 h 61226"/>
                    <a:gd name="connsiteX12" fmla="*/ 46078 w 61226"/>
                    <a:gd name="connsiteY12" fmla="*/ 13887 h 61226"/>
                    <a:gd name="connsiteX13" fmla="*/ 13255 w 61226"/>
                    <a:gd name="connsiteY13" fmla="*/ 13887 h 6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26" h="61226">
                      <a:moveTo>
                        <a:pt x="6943" y="61227"/>
                      </a:moveTo>
                      <a:cubicBezTo>
                        <a:pt x="5050" y="61227"/>
                        <a:pt x="3156" y="60596"/>
                        <a:pt x="1894" y="59333"/>
                      </a:cubicBezTo>
                      <a:cubicBezTo>
                        <a:pt x="631" y="58071"/>
                        <a:pt x="0" y="56177"/>
                        <a:pt x="0" y="54284"/>
                      </a:cubicBezTo>
                      <a:lnTo>
                        <a:pt x="0" y="6943"/>
                      </a:lnTo>
                      <a:cubicBezTo>
                        <a:pt x="0" y="3156"/>
                        <a:pt x="3156" y="0"/>
                        <a:pt x="6943" y="0"/>
                      </a:cubicBezTo>
                      <a:lnTo>
                        <a:pt x="54284" y="0"/>
                      </a:lnTo>
                      <a:cubicBezTo>
                        <a:pt x="56177" y="0"/>
                        <a:pt x="58071" y="631"/>
                        <a:pt x="59333" y="1894"/>
                      </a:cubicBezTo>
                      <a:cubicBezTo>
                        <a:pt x="60596" y="3156"/>
                        <a:pt x="61227" y="5050"/>
                        <a:pt x="61227" y="6943"/>
                      </a:cubicBezTo>
                      <a:cubicBezTo>
                        <a:pt x="59964" y="36610"/>
                        <a:pt x="36610" y="60596"/>
                        <a:pt x="6943" y="61227"/>
                      </a:cubicBezTo>
                      <a:cubicBezTo>
                        <a:pt x="6943" y="61227"/>
                        <a:pt x="6943" y="61227"/>
                        <a:pt x="6943" y="61227"/>
                      </a:cubicBezTo>
                      <a:close/>
                      <a:moveTo>
                        <a:pt x="13255" y="13887"/>
                      </a:moveTo>
                      <a:lnTo>
                        <a:pt x="13255" y="46709"/>
                      </a:lnTo>
                      <a:cubicBezTo>
                        <a:pt x="29667" y="43553"/>
                        <a:pt x="42922" y="30298"/>
                        <a:pt x="46078" y="13887"/>
                      </a:cubicBezTo>
                      <a:lnTo>
                        <a:pt x="13255" y="13887"/>
                      </a:ln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49" name="Freeform 2052">
                  <a:extLst>
                    <a:ext uri="{FF2B5EF4-FFF2-40B4-BE49-F238E27FC236}">
                      <a16:creationId xmlns:a16="http://schemas.microsoft.com/office/drawing/2014/main" id="{78A06A21-AF51-02DB-D28A-884CE8D4B523}"/>
                    </a:ext>
                  </a:extLst>
                </p:cNvPr>
                <p:cNvSpPr/>
                <p:nvPr/>
              </p:nvSpPr>
              <p:spPr>
                <a:xfrm>
                  <a:off x="3561922" y="3640754"/>
                  <a:ext cx="61307" cy="63120"/>
                </a:xfrm>
                <a:custGeom>
                  <a:avLst/>
                  <a:gdLst>
                    <a:gd name="connsiteX0" fmla="*/ 54915 w 61307"/>
                    <a:gd name="connsiteY0" fmla="*/ 63120 h 63120"/>
                    <a:gd name="connsiteX1" fmla="*/ 6943 w 61307"/>
                    <a:gd name="connsiteY1" fmla="*/ 63120 h 63120"/>
                    <a:gd name="connsiteX2" fmla="*/ 0 w 61307"/>
                    <a:gd name="connsiteY2" fmla="*/ 56177 h 63120"/>
                    <a:gd name="connsiteX3" fmla="*/ 0 w 61307"/>
                    <a:gd name="connsiteY3" fmla="*/ 6943 h 63120"/>
                    <a:gd name="connsiteX4" fmla="*/ 1894 w 61307"/>
                    <a:gd name="connsiteY4" fmla="*/ 1894 h 63120"/>
                    <a:gd name="connsiteX5" fmla="*/ 6943 w 61307"/>
                    <a:gd name="connsiteY5" fmla="*/ 0 h 63120"/>
                    <a:gd name="connsiteX6" fmla="*/ 61227 w 61307"/>
                    <a:gd name="connsiteY6" fmla="*/ 56177 h 63120"/>
                    <a:gd name="connsiteX7" fmla="*/ 61227 w 61307"/>
                    <a:gd name="connsiteY7" fmla="*/ 56808 h 63120"/>
                    <a:gd name="connsiteX8" fmla="*/ 54915 w 61307"/>
                    <a:gd name="connsiteY8" fmla="*/ 63120 h 63120"/>
                    <a:gd name="connsiteX9" fmla="*/ 13887 w 61307"/>
                    <a:gd name="connsiteY9" fmla="*/ 49234 h 63120"/>
                    <a:gd name="connsiteX10" fmla="*/ 47340 w 61307"/>
                    <a:gd name="connsiteY10" fmla="*/ 49234 h 63120"/>
                    <a:gd name="connsiteX11" fmla="*/ 13887 w 61307"/>
                    <a:gd name="connsiteY11" fmla="*/ 14518 h 63120"/>
                    <a:gd name="connsiteX12" fmla="*/ 13887 w 61307"/>
                    <a:gd name="connsiteY12" fmla="*/ 49234 h 6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307" h="63120">
                      <a:moveTo>
                        <a:pt x="54915" y="63120"/>
                      </a:moveTo>
                      <a:lnTo>
                        <a:pt x="6943" y="63120"/>
                      </a:lnTo>
                      <a:cubicBezTo>
                        <a:pt x="3156" y="63120"/>
                        <a:pt x="0" y="59964"/>
                        <a:pt x="0" y="56177"/>
                      </a:cubicBezTo>
                      <a:lnTo>
                        <a:pt x="0" y="6943"/>
                      </a:lnTo>
                      <a:cubicBezTo>
                        <a:pt x="0" y="5050"/>
                        <a:pt x="631" y="3156"/>
                        <a:pt x="1894" y="1894"/>
                      </a:cubicBezTo>
                      <a:cubicBezTo>
                        <a:pt x="3156" y="631"/>
                        <a:pt x="5050" y="0"/>
                        <a:pt x="6943" y="0"/>
                      </a:cubicBezTo>
                      <a:cubicBezTo>
                        <a:pt x="37241" y="631"/>
                        <a:pt x="61227" y="25248"/>
                        <a:pt x="61227" y="56177"/>
                      </a:cubicBezTo>
                      <a:cubicBezTo>
                        <a:pt x="61227" y="56177"/>
                        <a:pt x="61227" y="56808"/>
                        <a:pt x="61227" y="56808"/>
                      </a:cubicBezTo>
                      <a:cubicBezTo>
                        <a:pt x="61858" y="59964"/>
                        <a:pt x="58702" y="63120"/>
                        <a:pt x="54915" y="63120"/>
                      </a:cubicBezTo>
                      <a:close/>
                      <a:moveTo>
                        <a:pt x="13887" y="49234"/>
                      </a:moveTo>
                      <a:lnTo>
                        <a:pt x="47340" y="49234"/>
                      </a:lnTo>
                      <a:cubicBezTo>
                        <a:pt x="44815" y="31560"/>
                        <a:pt x="31560" y="17674"/>
                        <a:pt x="13887" y="14518"/>
                      </a:cubicBezTo>
                      <a:lnTo>
                        <a:pt x="13887" y="49234"/>
                      </a:ln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50" name="Freeform 2053">
                  <a:extLst>
                    <a:ext uri="{FF2B5EF4-FFF2-40B4-BE49-F238E27FC236}">
                      <a16:creationId xmlns:a16="http://schemas.microsoft.com/office/drawing/2014/main" id="{3A1B99BB-DD9F-F216-F1D2-EFFFED93FED2}"/>
                    </a:ext>
                  </a:extLst>
                </p:cNvPr>
                <p:cNvSpPr/>
                <p:nvPr/>
              </p:nvSpPr>
              <p:spPr>
                <a:xfrm>
                  <a:off x="3967785" y="3482322"/>
                  <a:ext cx="62489" cy="61226"/>
                </a:xfrm>
                <a:custGeom>
                  <a:avLst/>
                  <a:gdLst>
                    <a:gd name="connsiteX0" fmla="*/ 55546 w 62489"/>
                    <a:gd name="connsiteY0" fmla="*/ 61227 h 61226"/>
                    <a:gd name="connsiteX1" fmla="*/ 55546 w 62489"/>
                    <a:gd name="connsiteY1" fmla="*/ 61227 h 61226"/>
                    <a:gd name="connsiteX2" fmla="*/ 0 w 62489"/>
                    <a:gd name="connsiteY2" fmla="*/ 6943 h 61226"/>
                    <a:gd name="connsiteX3" fmla="*/ 1894 w 62489"/>
                    <a:gd name="connsiteY3" fmla="*/ 1894 h 61226"/>
                    <a:gd name="connsiteX4" fmla="*/ 6943 w 62489"/>
                    <a:gd name="connsiteY4" fmla="*/ 0 h 61226"/>
                    <a:gd name="connsiteX5" fmla="*/ 55546 w 62489"/>
                    <a:gd name="connsiteY5" fmla="*/ 0 h 61226"/>
                    <a:gd name="connsiteX6" fmla="*/ 62489 w 62489"/>
                    <a:gd name="connsiteY6" fmla="*/ 6943 h 61226"/>
                    <a:gd name="connsiteX7" fmla="*/ 62489 w 62489"/>
                    <a:gd name="connsiteY7" fmla="*/ 54915 h 61226"/>
                    <a:gd name="connsiteX8" fmla="*/ 60596 w 62489"/>
                    <a:gd name="connsiteY8" fmla="*/ 59964 h 61226"/>
                    <a:gd name="connsiteX9" fmla="*/ 55546 w 62489"/>
                    <a:gd name="connsiteY9" fmla="*/ 61227 h 61226"/>
                    <a:gd name="connsiteX10" fmla="*/ 14518 w 62489"/>
                    <a:gd name="connsiteY10" fmla="*/ 13887 h 61226"/>
                    <a:gd name="connsiteX11" fmla="*/ 48603 w 62489"/>
                    <a:gd name="connsiteY11" fmla="*/ 47340 h 61226"/>
                    <a:gd name="connsiteX12" fmla="*/ 48603 w 62489"/>
                    <a:gd name="connsiteY12" fmla="*/ 13887 h 61226"/>
                    <a:gd name="connsiteX13" fmla="*/ 14518 w 62489"/>
                    <a:gd name="connsiteY13" fmla="*/ 13887 h 6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89" h="61226">
                      <a:moveTo>
                        <a:pt x="55546" y="61227"/>
                      </a:moveTo>
                      <a:cubicBezTo>
                        <a:pt x="55546" y="61227"/>
                        <a:pt x="55546" y="61227"/>
                        <a:pt x="55546" y="61227"/>
                      </a:cubicBezTo>
                      <a:cubicBezTo>
                        <a:pt x="25248" y="60596"/>
                        <a:pt x="1262" y="37241"/>
                        <a:pt x="0" y="6943"/>
                      </a:cubicBezTo>
                      <a:cubicBezTo>
                        <a:pt x="0" y="5050"/>
                        <a:pt x="631" y="3156"/>
                        <a:pt x="1894" y="1894"/>
                      </a:cubicBezTo>
                      <a:cubicBezTo>
                        <a:pt x="3156" y="631"/>
                        <a:pt x="5050" y="0"/>
                        <a:pt x="6943" y="0"/>
                      </a:cubicBezTo>
                      <a:lnTo>
                        <a:pt x="55546" y="0"/>
                      </a:lnTo>
                      <a:cubicBezTo>
                        <a:pt x="59333" y="0"/>
                        <a:pt x="62489" y="3156"/>
                        <a:pt x="62489" y="6943"/>
                      </a:cubicBezTo>
                      <a:lnTo>
                        <a:pt x="62489" y="54915"/>
                      </a:lnTo>
                      <a:cubicBezTo>
                        <a:pt x="62489" y="56808"/>
                        <a:pt x="61858" y="58702"/>
                        <a:pt x="60596" y="59964"/>
                      </a:cubicBezTo>
                      <a:cubicBezTo>
                        <a:pt x="58702" y="60596"/>
                        <a:pt x="57440" y="61227"/>
                        <a:pt x="55546" y="61227"/>
                      </a:cubicBezTo>
                      <a:close/>
                      <a:moveTo>
                        <a:pt x="14518" y="13887"/>
                      </a:moveTo>
                      <a:cubicBezTo>
                        <a:pt x="17674" y="30929"/>
                        <a:pt x="31560" y="44184"/>
                        <a:pt x="48603" y="47340"/>
                      </a:cubicBezTo>
                      <a:lnTo>
                        <a:pt x="48603" y="13887"/>
                      </a:lnTo>
                      <a:lnTo>
                        <a:pt x="14518" y="13887"/>
                      </a:ln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51" name="Freeform 2054">
                  <a:extLst>
                    <a:ext uri="{FF2B5EF4-FFF2-40B4-BE49-F238E27FC236}">
                      <a16:creationId xmlns:a16="http://schemas.microsoft.com/office/drawing/2014/main" id="{916482FD-9C88-B32C-3E6D-617B7F03AAED}"/>
                    </a:ext>
                  </a:extLst>
                </p:cNvPr>
                <p:cNvSpPr/>
                <p:nvPr/>
              </p:nvSpPr>
              <p:spPr>
                <a:xfrm>
                  <a:off x="3967785" y="3640754"/>
                  <a:ext cx="62489" cy="63120"/>
                </a:xfrm>
                <a:custGeom>
                  <a:avLst/>
                  <a:gdLst>
                    <a:gd name="connsiteX0" fmla="*/ 55546 w 62489"/>
                    <a:gd name="connsiteY0" fmla="*/ 63120 h 63120"/>
                    <a:gd name="connsiteX1" fmla="*/ 6943 w 62489"/>
                    <a:gd name="connsiteY1" fmla="*/ 63120 h 63120"/>
                    <a:gd name="connsiteX2" fmla="*/ 0 w 62489"/>
                    <a:gd name="connsiteY2" fmla="*/ 56177 h 63120"/>
                    <a:gd name="connsiteX3" fmla="*/ 55546 w 62489"/>
                    <a:gd name="connsiteY3" fmla="*/ 0 h 63120"/>
                    <a:gd name="connsiteX4" fmla="*/ 60596 w 62489"/>
                    <a:gd name="connsiteY4" fmla="*/ 1894 h 63120"/>
                    <a:gd name="connsiteX5" fmla="*/ 62489 w 62489"/>
                    <a:gd name="connsiteY5" fmla="*/ 6943 h 63120"/>
                    <a:gd name="connsiteX6" fmla="*/ 62489 w 62489"/>
                    <a:gd name="connsiteY6" fmla="*/ 56177 h 63120"/>
                    <a:gd name="connsiteX7" fmla="*/ 55546 w 62489"/>
                    <a:gd name="connsiteY7" fmla="*/ 63120 h 63120"/>
                    <a:gd name="connsiteX8" fmla="*/ 14518 w 62489"/>
                    <a:gd name="connsiteY8" fmla="*/ 49234 h 63120"/>
                    <a:gd name="connsiteX9" fmla="*/ 48603 w 62489"/>
                    <a:gd name="connsiteY9" fmla="*/ 49234 h 63120"/>
                    <a:gd name="connsiteX10" fmla="*/ 48603 w 62489"/>
                    <a:gd name="connsiteY10" fmla="*/ 14518 h 63120"/>
                    <a:gd name="connsiteX11" fmla="*/ 14518 w 62489"/>
                    <a:gd name="connsiteY11" fmla="*/ 49234 h 6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89" h="63120">
                      <a:moveTo>
                        <a:pt x="55546" y="63120"/>
                      </a:moveTo>
                      <a:lnTo>
                        <a:pt x="6943" y="63120"/>
                      </a:lnTo>
                      <a:cubicBezTo>
                        <a:pt x="3156" y="63120"/>
                        <a:pt x="0" y="59964"/>
                        <a:pt x="0" y="56177"/>
                      </a:cubicBezTo>
                      <a:cubicBezTo>
                        <a:pt x="0" y="25248"/>
                        <a:pt x="24617" y="631"/>
                        <a:pt x="55546" y="0"/>
                      </a:cubicBezTo>
                      <a:cubicBezTo>
                        <a:pt x="57440" y="0"/>
                        <a:pt x="59333" y="631"/>
                        <a:pt x="60596" y="1894"/>
                      </a:cubicBezTo>
                      <a:cubicBezTo>
                        <a:pt x="61858" y="3156"/>
                        <a:pt x="62489" y="5050"/>
                        <a:pt x="62489" y="6943"/>
                      </a:cubicBezTo>
                      <a:lnTo>
                        <a:pt x="62489" y="56177"/>
                      </a:lnTo>
                      <a:cubicBezTo>
                        <a:pt x="62489" y="59964"/>
                        <a:pt x="59333" y="63120"/>
                        <a:pt x="55546" y="63120"/>
                      </a:cubicBezTo>
                      <a:close/>
                      <a:moveTo>
                        <a:pt x="14518" y="49234"/>
                      </a:moveTo>
                      <a:lnTo>
                        <a:pt x="48603" y="49234"/>
                      </a:lnTo>
                      <a:lnTo>
                        <a:pt x="48603" y="14518"/>
                      </a:lnTo>
                      <a:cubicBezTo>
                        <a:pt x="30929" y="17674"/>
                        <a:pt x="17043" y="31560"/>
                        <a:pt x="14518" y="49234"/>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grpSp>
          <p:sp>
            <p:nvSpPr>
              <p:cNvPr id="45" name="Freeform 2049">
                <a:extLst>
                  <a:ext uri="{FF2B5EF4-FFF2-40B4-BE49-F238E27FC236}">
                    <a16:creationId xmlns:a16="http://schemas.microsoft.com/office/drawing/2014/main" id="{41690FB0-F26C-3971-AECF-2817F74C67AA}"/>
                  </a:ext>
                </a:extLst>
              </p:cNvPr>
              <p:cNvSpPr/>
              <p:nvPr/>
            </p:nvSpPr>
            <p:spPr>
              <a:xfrm>
                <a:off x="3685637" y="3482954"/>
                <a:ext cx="220926" cy="220920"/>
              </a:xfrm>
              <a:custGeom>
                <a:avLst/>
                <a:gdLst>
                  <a:gd name="connsiteX0" fmla="*/ 110460 w 220926"/>
                  <a:gd name="connsiteY0" fmla="*/ 220921 h 220920"/>
                  <a:gd name="connsiteX1" fmla="*/ 0 w 220926"/>
                  <a:gd name="connsiteY1" fmla="*/ 110460 h 220920"/>
                  <a:gd name="connsiteX2" fmla="*/ 110460 w 220926"/>
                  <a:gd name="connsiteY2" fmla="*/ 0 h 220920"/>
                  <a:gd name="connsiteX3" fmla="*/ 220921 w 220926"/>
                  <a:gd name="connsiteY3" fmla="*/ 110460 h 220920"/>
                  <a:gd name="connsiteX4" fmla="*/ 110460 w 220926"/>
                  <a:gd name="connsiteY4" fmla="*/ 220921 h 220920"/>
                  <a:gd name="connsiteX5" fmla="*/ 110460 w 220926"/>
                  <a:gd name="connsiteY5" fmla="*/ 13255 h 220920"/>
                  <a:gd name="connsiteX6" fmla="*/ 13255 w 220926"/>
                  <a:gd name="connsiteY6" fmla="*/ 110460 h 220920"/>
                  <a:gd name="connsiteX7" fmla="*/ 110460 w 220926"/>
                  <a:gd name="connsiteY7" fmla="*/ 207665 h 220920"/>
                  <a:gd name="connsiteX8" fmla="*/ 207666 w 220926"/>
                  <a:gd name="connsiteY8" fmla="*/ 110460 h 220920"/>
                  <a:gd name="connsiteX9" fmla="*/ 110460 w 220926"/>
                  <a:gd name="connsiteY9" fmla="*/ 13255 h 22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926" h="220920">
                    <a:moveTo>
                      <a:pt x="110460" y="220921"/>
                    </a:moveTo>
                    <a:cubicBezTo>
                      <a:pt x="49234" y="220921"/>
                      <a:pt x="0" y="171056"/>
                      <a:pt x="0" y="110460"/>
                    </a:cubicBezTo>
                    <a:cubicBezTo>
                      <a:pt x="0" y="49234"/>
                      <a:pt x="49865" y="0"/>
                      <a:pt x="110460" y="0"/>
                    </a:cubicBezTo>
                    <a:cubicBezTo>
                      <a:pt x="171687" y="0"/>
                      <a:pt x="220921" y="49865"/>
                      <a:pt x="220921" y="110460"/>
                    </a:cubicBezTo>
                    <a:cubicBezTo>
                      <a:pt x="221552" y="171056"/>
                      <a:pt x="171687" y="220921"/>
                      <a:pt x="110460" y="220921"/>
                    </a:cubicBezTo>
                    <a:close/>
                    <a:moveTo>
                      <a:pt x="110460" y="13255"/>
                    </a:moveTo>
                    <a:cubicBezTo>
                      <a:pt x="56808" y="13255"/>
                      <a:pt x="13255" y="56808"/>
                      <a:pt x="13255" y="110460"/>
                    </a:cubicBezTo>
                    <a:cubicBezTo>
                      <a:pt x="13255" y="164113"/>
                      <a:pt x="56808" y="207665"/>
                      <a:pt x="110460" y="207665"/>
                    </a:cubicBezTo>
                    <a:cubicBezTo>
                      <a:pt x="164113" y="207665"/>
                      <a:pt x="207666" y="164113"/>
                      <a:pt x="207666" y="110460"/>
                    </a:cubicBezTo>
                    <a:cubicBezTo>
                      <a:pt x="207666" y="56808"/>
                      <a:pt x="164113" y="13255"/>
                      <a:pt x="110460" y="13255"/>
                    </a:cubicBezTo>
                    <a:close/>
                  </a:path>
                </a:pathLst>
              </a:custGeom>
              <a:grpFill/>
              <a:ln w="4028" cap="flat">
                <a:noFill/>
                <a:prstDash val="solid"/>
                <a:miter/>
              </a:ln>
            </p:spPr>
            <p:txBody>
              <a:bodyPr rtlCol="0" anchor="ctr"/>
              <a:lstStyle/>
              <a:p>
                <a:endParaRPr lang="en-US" dirty="0">
                  <a:ln>
                    <a:solidFill>
                      <a:schemeClr val="tx1"/>
                    </a:solidFill>
                  </a:ln>
                  <a:solidFill>
                    <a:srgbClr val="000000"/>
                  </a:solidFill>
                  <a:latin typeface="Arial"/>
                </a:endParaRPr>
              </a:p>
            </p:txBody>
          </p:sp>
        </p:grpSp>
        <p:grpSp>
          <p:nvGrpSpPr>
            <p:cNvPr id="14" name="Graphic 4">
              <a:extLst>
                <a:ext uri="{FF2B5EF4-FFF2-40B4-BE49-F238E27FC236}">
                  <a16:creationId xmlns:a16="http://schemas.microsoft.com/office/drawing/2014/main" id="{EC222D22-78A8-AC93-42EB-658E3A3CB1A1}"/>
                </a:ext>
              </a:extLst>
            </p:cNvPr>
            <p:cNvGrpSpPr/>
            <p:nvPr/>
          </p:nvGrpSpPr>
          <p:grpSpPr>
            <a:xfrm>
              <a:off x="3671120" y="3338408"/>
              <a:ext cx="249325" cy="509380"/>
              <a:chOff x="3671120" y="3338408"/>
              <a:chExt cx="249325" cy="509380"/>
            </a:xfrm>
            <a:grpFill/>
          </p:grpSpPr>
          <p:grpSp>
            <p:nvGrpSpPr>
              <p:cNvPr id="24" name="Graphic 4">
                <a:extLst>
                  <a:ext uri="{FF2B5EF4-FFF2-40B4-BE49-F238E27FC236}">
                    <a16:creationId xmlns:a16="http://schemas.microsoft.com/office/drawing/2014/main" id="{12C0CF05-1573-434B-AE66-E78784AA6CC1}"/>
                  </a:ext>
                </a:extLst>
              </p:cNvPr>
              <p:cNvGrpSpPr/>
              <p:nvPr/>
            </p:nvGrpSpPr>
            <p:grpSpPr>
              <a:xfrm>
                <a:off x="3699524" y="3338408"/>
                <a:ext cx="220921" cy="116772"/>
                <a:chOff x="3699524" y="3338408"/>
                <a:chExt cx="220921" cy="116772"/>
              </a:xfrm>
              <a:grpFill/>
            </p:grpSpPr>
            <p:sp>
              <p:nvSpPr>
                <p:cNvPr id="36" name="Freeform 2045">
                  <a:extLst>
                    <a:ext uri="{FF2B5EF4-FFF2-40B4-BE49-F238E27FC236}">
                      <a16:creationId xmlns:a16="http://schemas.microsoft.com/office/drawing/2014/main" id="{159E79EA-97D6-1AD0-CEA0-7BE173F61C42}"/>
                    </a:ext>
                  </a:extLst>
                </p:cNvPr>
                <p:cNvSpPr/>
                <p:nvPr/>
              </p:nvSpPr>
              <p:spPr>
                <a:xfrm>
                  <a:off x="3699524" y="3338408"/>
                  <a:ext cx="193148" cy="116772"/>
                </a:xfrm>
                <a:custGeom>
                  <a:avLst/>
                  <a:gdLst>
                    <a:gd name="connsiteX0" fmla="*/ 186205 w 193148"/>
                    <a:gd name="connsiteY0" fmla="*/ 116773 h 116772"/>
                    <a:gd name="connsiteX1" fmla="*/ 179262 w 193148"/>
                    <a:gd name="connsiteY1" fmla="*/ 109829 h 116772"/>
                    <a:gd name="connsiteX2" fmla="*/ 179262 w 193148"/>
                    <a:gd name="connsiteY2" fmla="*/ 96574 h 116772"/>
                    <a:gd name="connsiteX3" fmla="*/ 96574 w 193148"/>
                    <a:gd name="connsiteY3" fmla="*/ 13887 h 116772"/>
                    <a:gd name="connsiteX4" fmla="*/ 13887 w 193148"/>
                    <a:gd name="connsiteY4" fmla="*/ 96574 h 116772"/>
                    <a:gd name="connsiteX5" fmla="*/ 13887 w 193148"/>
                    <a:gd name="connsiteY5" fmla="*/ 109829 h 116772"/>
                    <a:gd name="connsiteX6" fmla="*/ 6943 w 193148"/>
                    <a:gd name="connsiteY6" fmla="*/ 116773 h 116772"/>
                    <a:gd name="connsiteX7" fmla="*/ 0 w 193148"/>
                    <a:gd name="connsiteY7" fmla="*/ 109829 h 116772"/>
                    <a:gd name="connsiteX8" fmla="*/ 0 w 193148"/>
                    <a:gd name="connsiteY8" fmla="*/ 96574 h 116772"/>
                    <a:gd name="connsiteX9" fmla="*/ 96574 w 193148"/>
                    <a:gd name="connsiteY9" fmla="*/ 0 h 116772"/>
                    <a:gd name="connsiteX10" fmla="*/ 193148 w 193148"/>
                    <a:gd name="connsiteY10" fmla="*/ 96574 h 116772"/>
                    <a:gd name="connsiteX11" fmla="*/ 193148 w 193148"/>
                    <a:gd name="connsiteY11" fmla="*/ 109829 h 116772"/>
                    <a:gd name="connsiteX12" fmla="*/ 186205 w 193148"/>
                    <a:gd name="connsiteY12" fmla="*/ 116773 h 11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148" h="116772">
                      <a:moveTo>
                        <a:pt x="186205" y="116773"/>
                      </a:moveTo>
                      <a:cubicBezTo>
                        <a:pt x="182418" y="116773"/>
                        <a:pt x="179262" y="113616"/>
                        <a:pt x="179262" y="109829"/>
                      </a:cubicBezTo>
                      <a:lnTo>
                        <a:pt x="179262" y="96574"/>
                      </a:lnTo>
                      <a:cubicBezTo>
                        <a:pt x="179262" y="51127"/>
                        <a:pt x="142021" y="13887"/>
                        <a:pt x="96574" y="13887"/>
                      </a:cubicBezTo>
                      <a:cubicBezTo>
                        <a:pt x="51128" y="13887"/>
                        <a:pt x="13887" y="51127"/>
                        <a:pt x="13887" y="96574"/>
                      </a:cubicBezTo>
                      <a:lnTo>
                        <a:pt x="13887" y="109829"/>
                      </a:lnTo>
                      <a:cubicBezTo>
                        <a:pt x="13887" y="113616"/>
                        <a:pt x="10731" y="116773"/>
                        <a:pt x="6943" y="116773"/>
                      </a:cubicBezTo>
                      <a:cubicBezTo>
                        <a:pt x="3156" y="116773"/>
                        <a:pt x="0" y="113616"/>
                        <a:pt x="0" y="109829"/>
                      </a:cubicBezTo>
                      <a:lnTo>
                        <a:pt x="0" y="96574"/>
                      </a:lnTo>
                      <a:cubicBezTo>
                        <a:pt x="0" y="43553"/>
                        <a:pt x="42922" y="0"/>
                        <a:pt x="96574" y="0"/>
                      </a:cubicBezTo>
                      <a:cubicBezTo>
                        <a:pt x="149595" y="0"/>
                        <a:pt x="193148" y="42922"/>
                        <a:pt x="193148" y="96574"/>
                      </a:cubicBezTo>
                      <a:lnTo>
                        <a:pt x="193148" y="109829"/>
                      </a:lnTo>
                      <a:cubicBezTo>
                        <a:pt x="193148" y="113616"/>
                        <a:pt x="189992" y="116773"/>
                        <a:pt x="186205" y="116773"/>
                      </a:cubicBezTo>
                      <a:close/>
                    </a:path>
                  </a:pathLst>
                </a:custGeom>
                <a:grpFill/>
                <a:ln w="4028" cap="flat">
                  <a:noFill/>
                  <a:prstDash val="solid"/>
                  <a:miter/>
                </a:ln>
              </p:spPr>
              <p:txBody>
                <a:bodyPr rtlCol="0" anchor="ctr"/>
                <a:lstStyle/>
                <a:p>
                  <a:endParaRPr lang="en-US" dirty="0">
                    <a:ln>
                      <a:solidFill>
                        <a:schemeClr val="tx1"/>
                      </a:solidFill>
                    </a:ln>
                    <a:solidFill>
                      <a:srgbClr val="000000"/>
                    </a:solidFill>
                    <a:latin typeface="Arial"/>
                  </a:endParaRPr>
                </a:p>
              </p:txBody>
            </p:sp>
            <p:sp>
              <p:nvSpPr>
                <p:cNvPr id="39" name="Freeform 2046">
                  <a:extLst>
                    <a:ext uri="{FF2B5EF4-FFF2-40B4-BE49-F238E27FC236}">
                      <a16:creationId xmlns:a16="http://schemas.microsoft.com/office/drawing/2014/main" id="{11D618DC-FE2C-0ED5-2812-899BDA710545}"/>
                    </a:ext>
                  </a:extLst>
                </p:cNvPr>
                <p:cNvSpPr/>
                <p:nvPr/>
              </p:nvSpPr>
              <p:spPr>
                <a:xfrm>
                  <a:off x="3849750" y="3412890"/>
                  <a:ext cx="70694" cy="42290"/>
                </a:xfrm>
                <a:custGeom>
                  <a:avLst/>
                  <a:gdLst>
                    <a:gd name="connsiteX0" fmla="*/ 35978 w 70694"/>
                    <a:gd name="connsiteY0" fmla="*/ 42291 h 42290"/>
                    <a:gd name="connsiteX1" fmla="*/ 30929 w 70694"/>
                    <a:gd name="connsiteY1" fmla="*/ 40397 h 42290"/>
                    <a:gd name="connsiteX2" fmla="*/ 1894 w 70694"/>
                    <a:gd name="connsiteY2" fmla="*/ 11361 h 42290"/>
                    <a:gd name="connsiteX3" fmla="*/ 1894 w 70694"/>
                    <a:gd name="connsiteY3" fmla="*/ 1893 h 42290"/>
                    <a:gd name="connsiteX4" fmla="*/ 11362 w 70694"/>
                    <a:gd name="connsiteY4" fmla="*/ 1893 h 42290"/>
                    <a:gd name="connsiteX5" fmla="*/ 35347 w 70694"/>
                    <a:gd name="connsiteY5" fmla="*/ 25879 h 42290"/>
                    <a:gd name="connsiteX6" fmla="*/ 59333 w 70694"/>
                    <a:gd name="connsiteY6" fmla="*/ 1893 h 42290"/>
                    <a:gd name="connsiteX7" fmla="*/ 68801 w 70694"/>
                    <a:gd name="connsiteY7" fmla="*/ 1893 h 42290"/>
                    <a:gd name="connsiteX8" fmla="*/ 68801 w 70694"/>
                    <a:gd name="connsiteY8" fmla="*/ 11361 h 42290"/>
                    <a:gd name="connsiteX9" fmla="*/ 39766 w 70694"/>
                    <a:gd name="connsiteY9" fmla="*/ 40397 h 42290"/>
                    <a:gd name="connsiteX10" fmla="*/ 35978 w 70694"/>
                    <a:gd name="connsiteY10" fmla="*/ 42291 h 4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94" h="42290">
                      <a:moveTo>
                        <a:pt x="35978" y="42291"/>
                      </a:moveTo>
                      <a:cubicBezTo>
                        <a:pt x="34085" y="42291"/>
                        <a:pt x="32191" y="41660"/>
                        <a:pt x="30929" y="40397"/>
                      </a:cubicBezTo>
                      <a:lnTo>
                        <a:pt x="1894" y="11361"/>
                      </a:lnTo>
                      <a:cubicBezTo>
                        <a:pt x="-631" y="8837"/>
                        <a:pt x="-631" y="4418"/>
                        <a:pt x="1894" y="1893"/>
                      </a:cubicBezTo>
                      <a:cubicBezTo>
                        <a:pt x="4418" y="-631"/>
                        <a:pt x="8837" y="-631"/>
                        <a:pt x="11362" y="1893"/>
                      </a:cubicBezTo>
                      <a:lnTo>
                        <a:pt x="35347" y="25879"/>
                      </a:lnTo>
                      <a:lnTo>
                        <a:pt x="59333" y="1893"/>
                      </a:lnTo>
                      <a:cubicBezTo>
                        <a:pt x="61858" y="-631"/>
                        <a:pt x="66276" y="-631"/>
                        <a:pt x="68801" y="1893"/>
                      </a:cubicBezTo>
                      <a:cubicBezTo>
                        <a:pt x="71326" y="4418"/>
                        <a:pt x="71326" y="8837"/>
                        <a:pt x="68801" y="11361"/>
                      </a:cubicBezTo>
                      <a:lnTo>
                        <a:pt x="39766" y="40397"/>
                      </a:lnTo>
                      <a:cubicBezTo>
                        <a:pt x="39766" y="41660"/>
                        <a:pt x="37872" y="42291"/>
                        <a:pt x="35978" y="42291"/>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grpSp>
          <p:grpSp>
            <p:nvGrpSpPr>
              <p:cNvPr id="25" name="Graphic 4">
                <a:extLst>
                  <a:ext uri="{FF2B5EF4-FFF2-40B4-BE49-F238E27FC236}">
                    <a16:creationId xmlns:a16="http://schemas.microsoft.com/office/drawing/2014/main" id="{07122A98-E82C-EE25-5C61-9DD7936EA895}"/>
                  </a:ext>
                </a:extLst>
              </p:cNvPr>
              <p:cNvGrpSpPr/>
              <p:nvPr/>
            </p:nvGrpSpPr>
            <p:grpSpPr>
              <a:xfrm>
                <a:off x="3671120" y="3731016"/>
                <a:ext cx="221552" cy="116772"/>
                <a:chOff x="3671120" y="3731016"/>
                <a:chExt cx="221552" cy="116772"/>
              </a:xfrm>
              <a:grpFill/>
            </p:grpSpPr>
            <p:sp>
              <p:nvSpPr>
                <p:cNvPr id="26" name="Freeform 2043">
                  <a:extLst>
                    <a:ext uri="{FF2B5EF4-FFF2-40B4-BE49-F238E27FC236}">
                      <a16:creationId xmlns:a16="http://schemas.microsoft.com/office/drawing/2014/main" id="{AE458520-B8F3-C3FC-7EBA-020C94310DA0}"/>
                    </a:ext>
                  </a:extLst>
                </p:cNvPr>
                <p:cNvSpPr/>
                <p:nvPr/>
              </p:nvSpPr>
              <p:spPr>
                <a:xfrm>
                  <a:off x="3699524" y="3731016"/>
                  <a:ext cx="193148" cy="116772"/>
                </a:xfrm>
                <a:custGeom>
                  <a:avLst/>
                  <a:gdLst>
                    <a:gd name="connsiteX0" fmla="*/ 96574 w 193148"/>
                    <a:gd name="connsiteY0" fmla="*/ 116773 h 116772"/>
                    <a:gd name="connsiteX1" fmla="*/ 0 w 193148"/>
                    <a:gd name="connsiteY1" fmla="*/ 20199 h 116772"/>
                    <a:gd name="connsiteX2" fmla="*/ 0 w 193148"/>
                    <a:gd name="connsiteY2" fmla="*/ 6943 h 116772"/>
                    <a:gd name="connsiteX3" fmla="*/ 6943 w 193148"/>
                    <a:gd name="connsiteY3" fmla="*/ 0 h 116772"/>
                    <a:gd name="connsiteX4" fmla="*/ 13887 w 193148"/>
                    <a:gd name="connsiteY4" fmla="*/ 6943 h 116772"/>
                    <a:gd name="connsiteX5" fmla="*/ 13887 w 193148"/>
                    <a:gd name="connsiteY5" fmla="*/ 20199 h 116772"/>
                    <a:gd name="connsiteX6" fmla="*/ 96574 w 193148"/>
                    <a:gd name="connsiteY6" fmla="*/ 102886 h 116772"/>
                    <a:gd name="connsiteX7" fmla="*/ 179262 w 193148"/>
                    <a:gd name="connsiteY7" fmla="*/ 20199 h 116772"/>
                    <a:gd name="connsiteX8" fmla="*/ 179262 w 193148"/>
                    <a:gd name="connsiteY8" fmla="*/ 6943 h 116772"/>
                    <a:gd name="connsiteX9" fmla="*/ 186205 w 193148"/>
                    <a:gd name="connsiteY9" fmla="*/ 0 h 116772"/>
                    <a:gd name="connsiteX10" fmla="*/ 193148 w 193148"/>
                    <a:gd name="connsiteY10" fmla="*/ 6943 h 116772"/>
                    <a:gd name="connsiteX11" fmla="*/ 193148 w 193148"/>
                    <a:gd name="connsiteY11" fmla="*/ 20199 h 116772"/>
                    <a:gd name="connsiteX12" fmla="*/ 96574 w 193148"/>
                    <a:gd name="connsiteY12" fmla="*/ 116773 h 11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148" h="116772">
                      <a:moveTo>
                        <a:pt x="96574" y="116773"/>
                      </a:moveTo>
                      <a:cubicBezTo>
                        <a:pt x="43553" y="116773"/>
                        <a:pt x="0" y="73851"/>
                        <a:pt x="0" y="20199"/>
                      </a:cubicBezTo>
                      <a:lnTo>
                        <a:pt x="0" y="6943"/>
                      </a:lnTo>
                      <a:cubicBezTo>
                        <a:pt x="0" y="3156"/>
                        <a:pt x="3156" y="0"/>
                        <a:pt x="6943" y="0"/>
                      </a:cubicBezTo>
                      <a:cubicBezTo>
                        <a:pt x="10731" y="0"/>
                        <a:pt x="13887" y="3156"/>
                        <a:pt x="13887" y="6943"/>
                      </a:cubicBezTo>
                      <a:lnTo>
                        <a:pt x="13887" y="20199"/>
                      </a:lnTo>
                      <a:cubicBezTo>
                        <a:pt x="13887" y="65645"/>
                        <a:pt x="51128" y="102886"/>
                        <a:pt x="96574" y="102886"/>
                      </a:cubicBezTo>
                      <a:cubicBezTo>
                        <a:pt x="142021" y="102886"/>
                        <a:pt x="179262" y="65645"/>
                        <a:pt x="179262" y="20199"/>
                      </a:cubicBezTo>
                      <a:lnTo>
                        <a:pt x="179262" y="6943"/>
                      </a:lnTo>
                      <a:cubicBezTo>
                        <a:pt x="179262" y="3156"/>
                        <a:pt x="182418" y="0"/>
                        <a:pt x="186205" y="0"/>
                      </a:cubicBezTo>
                      <a:cubicBezTo>
                        <a:pt x="189992" y="0"/>
                        <a:pt x="193148" y="3156"/>
                        <a:pt x="193148" y="6943"/>
                      </a:cubicBezTo>
                      <a:lnTo>
                        <a:pt x="193148" y="20199"/>
                      </a:lnTo>
                      <a:cubicBezTo>
                        <a:pt x="193148" y="73851"/>
                        <a:pt x="149595" y="116773"/>
                        <a:pt x="96574" y="116773"/>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sp>
              <p:nvSpPr>
                <p:cNvPr id="34" name="Freeform 2044">
                  <a:extLst>
                    <a:ext uri="{FF2B5EF4-FFF2-40B4-BE49-F238E27FC236}">
                      <a16:creationId xmlns:a16="http://schemas.microsoft.com/office/drawing/2014/main" id="{A3460E93-4A9A-6507-BE58-3C889C635E6B}"/>
                    </a:ext>
                  </a:extLst>
                </p:cNvPr>
                <p:cNvSpPr/>
                <p:nvPr/>
              </p:nvSpPr>
              <p:spPr>
                <a:xfrm>
                  <a:off x="3671120" y="3731647"/>
                  <a:ext cx="71325" cy="42290"/>
                </a:xfrm>
                <a:custGeom>
                  <a:avLst/>
                  <a:gdLst>
                    <a:gd name="connsiteX0" fmla="*/ 6943 w 71325"/>
                    <a:gd name="connsiteY0" fmla="*/ 42291 h 42290"/>
                    <a:gd name="connsiteX1" fmla="*/ 1893 w 71325"/>
                    <a:gd name="connsiteY1" fmla="*/ 40397 h 42290"/>
                    <a:gd name="connsiteX2" fmla="*/ 1893 w 71325"/>
                    <a:gd name="connsiteY2" fmla="*/ 30929 h 42290"/>
                    <a:gd name="connsiteX3" fmla="*/ 30929 w 71325"/>
                    <a:gd name="connsiteY3" fmla="*/ 1893 h 42290"/>
                    <a:gd name="connsiteX4" fmla="*/ 40397 w 71325"/>
                    <a:gd name="connsiteY4" fmla="*/ 1893 h 42290"/>
                    <a:gd name="connsiteX5" fmla="*/ 69432 w 71325"/>
                    <a:gd name="connsiteY5" fmla="*/ 30929 h 42290"/>
                    <a:gd name="connsiteX6" fmla="*/ 69432 w 71325"/>
                    <a:gd name="connsiteY6" fmla="*/ 40397 h 42290"/>
                    <a:gd name="connsiteX7" fmla="*/ 59964 w 71325"/>
                    <a:gd name="connsiteY7" fmla="*/ 40397 h 42290"/>
                    <a:gd name="connsiteX8" fmla="*/ 35979 w 71325"/>
                    <a:gd name="connsiteY8" fmla="*/ 16411 h 42290"/>
                    <a:gd name="connsiteX9" fmla="*/ 11993 w 71325"/>
                    <a:gd name="connsiteY9" fmla="*/ 40397 h 42290"/>
                    <a:gd name="connsiteX10" fmla="*/ 6943 w 71325"/>
                    <a:gd name="connsiteY10" fmla="*/ 42291 h 4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325" h="42290">
                      <a:moveTo>
                        <a:pt x="6943" y="42291"/>
                      </a:moveTo>
                      <a:cubicBezTo>
                        <a:pt x="5049" y="42291"/>
                        <a:pt x="3156" y="41660"/>
                        <a:pt x="1893" y="40397"/>
                      </a:cubicBezTo>
                      <a:cubicBezTo>
                        <a:pt x="-631" y="37872"/>
                        <a:pt x="-631" y="33454"/>
                        <a:pt x="1893" y="30929"/>
                      </a:cubicBezTo>
                      <a:lnTo>
                        <a:pt x="30929" y="1893"/>
                      </a:lnTo>
                      <a:cubicBezTo>
                        <a:pt x="33454" y="-631"/>
                        <a:pt x="37872" y="-631"/>
                        <a:pt x="40397" y="1893"/>
                      </a:cubicBezTo>
                      <a:lnTo>
                        <a:pt x="69432" y="30929"/>
                      </a:lnTo>
                      <a:cubicBezTo>
                        <a:pt x="71957" y="33454"/>
                        <a:pt x="71957" y="37872"/>
                        <a:pt x="69432" y="40397"/>
                      </a:cubicBezTo>
                      <a:cubicBezTo>
                        <a:pt x="66908" y="42922"/>
                        <a:pt x="62489" y="42922"/>
                        <a:pt x="59964" y="40397"/>
                      </a:cubicBezTo>
                      <a:lnTo>
                        <a:pt x="35979" y="16411"/>
                      </a:lnTo>
                      <a:lnTo>
                        <a:pt x="11993" y="40397"/>
                      </a:lnTo>
                      <a:cubicBezTo>
                        <a:pt x="10099" y="41660"/>
                        <a:pt x="8205" y="42291"/>
                        <a:pt x="6943" y="42291"/>
                      </a:cubicBezTo>
                      <a:close/>
                    </a:path>
                  </a:pathLst>
                </a:custGeom>
                <a:grpFill/>
                <a:ln w="4028" cap="flat">
                  <a:noFill/>
                  <a:prstDash val="solid"/>
                  <a:miter/>
                </a:ln>
              </p:spPr>
              <p:txBody>
                <a:bodyPr rtlCol="0" anchor="ctr"/>
                <a:lstStyle/>
                <a:p>
                  <a:endParaRPr lang="en-US">
                    <a:ln>
                      <a:solidFill>
                        <a:schemeClr val="tx1"/>
                      </a:solidFill>
                    </a:ln>
                    <a:solidFill>
                      <a:srgbClr val="000000"/>
                    </a:solidFill>
                    <a:latin typeface="Arial"/>
                  </a:endParaRPr>
                </a:p>
              </p:txBody>
            </p:sp>
          </p:grpSp>
        </p:grpSp>
      </p:grpSp>
      <p:sp>
        <p:nvSpPr>
          <p:cNvPr id="57" name="Title 2">
            <a:extLst>
              <a:ext uri="{FF2B5EF4-FFF2-40B4-BE49-F238E27FC236}">
                <a16:creationId xmlns:a16="http://schemas.microsoft.com/office/drawing/2014/main" id="{49C86F43-90BD-45C9-A300-77139E3970C7}"/>
              </a:ext>
            </a:extLst>
          </p:cNvPr>
          <p:cNvSpPr txBox="1">
            <a:spLocks/>
          </p:cNvSpPr>
          <p:nvPr/>
        </p:nvSpPr>
        <p:spPr>
          <a:xfrm>
            <a:off x="385184" y="300485"/>
            <a:ext cx="10866964" cy="461665"/>
          </a:xfrm>
          <a:prstGeom prst="rect">
            <a:avLst/>
          </a:prstGeom>
        </p:spPr>
        <p:txBody>
          <a:bodyPr vert="horz" wrap="square" lIns="91440" tIns="0" rIns="91440" bIns="0" rtlCol="0" anchor="t" anchorCtr="0">
            <a:normAutofit/>
          </a:bodyPr>
          <a:lstStyle>
            <a:lvl1pPr algn="ctr" eaLnBrk="1" hangingPunct="1">
              <a:defRPr sz="3000" b="0" i="0" baseline="0">
                <a:solidFill>
                  <a:schemeClr val="tx2"/>
                </a:solidFill>
                <a:latin typeface="Figtree" pitchFamily="2" charset="0"/>
                <a:ea typeface="+mj-ea"/>
                <a:cs typeface="Figtree" pitchFamily="2" charset="0"/>
              </a:defRPr>
            </a:lvl1pPr>
          </a:lstStyle>
          <a:p>
            <a:pPr algn="l"/>
            <a:r>
              <a:rPr lang="en-US" sz="2800" b="1" kern="0" dirty="0"/>
              <a:t>Current MESC Programming </a:t>
            </a:r>
          </a:p>
        </p:txBody>
      </p:sp>
      <p:sp>
        <p:nvSpPr>
          <p:cNvPr id="10" name="Freeform 1476">
            <a:extLst>
              <a:ext uri="{FF2B5EF4-FFF2-40B4-BE49-F238E27FC236}">
                <a16:creationId xmlns:a16="http://schemas.microsoft.com/office/drawing/2014/main" id="{4E7ED372-7E71-A397-F3E8-47E51C4C54AB}"/>
              </a:ext>
            </a:extLst>
          </p:cNvPr>
          <p:cNvSpPr/>
          <p:nvPr/>
        </p:nvSpPr>
        <p:spPr>
          <a:xfrm>
            <a:off x="8153591" y="5922158"/>
            <a:ext cx="310133" cy="530153"/>
          </a:xfrm>
          <a:custGeom>
            <a:avLst/>
            <a:gdLst>
              <a:gd name="connsiteX0" fmla="*/ 26591 w 213537"/>
              <a:gd name="connsiteY0" fmla="*/ 37873 h 365028"/>
              <a:gd name="connsiteX1" fmla="*/ 70508 w 213537"/>
              <a:gd name="connsiteY1" fmla="*/ 37873 h 365028"/>
              <a:gd name="connsiteX2" fmla="*/ 70508 w 213537"/>
              <a:gd name="connsiteY2" fmla="*/ 14504 h 365028"/>
              <a:gd name="connsiteX3" fmla="*/ 85012 w 213537"/>
              <a:gd name="connsiteY3" fmla="*/ 0 h 365028"/>
              <a:gd name="connsiteX4" fmla="*/ 128929 w 213537"/>
              <a:gd name="connsiteY4" fmla="*/ 0 h 365028"/>
              <a:gd name="connsiteX5" fmla="*/ 143433 w 213537"/>
              <a:gd name="connsiteY5" fmla="*/ 14504 h 365028"/>
              <a:gd name="connsiteX6" fmla="*/ 143433 w 213537"/>
              <a:gd name="connsiteY6" fmla="*/ 37873 h 365028"/>
              <a:gd name="connsiteX7" fmla="*/ 187349 w 213537"/>
              <a:gd name="connsiteY7" fmla="*/ 37873 h 365028"/>
              <a:gd name="connsiteX8" fmla="*/ 187349 w 213537"/>
              <a:gd name="connsiteY8" fmla="*/ 37873 h 365028"/>
              <a:gd name="connsiteX9" fmla="*/ 187349 w 213537"/>
              <a:gd name="connsiteY9" fmla="*/ 37873 h 365028"/>
              <a:gd name="connsiteX10" fmla="*/ 205883 w 213537"/>
              <a:gd name="connsiteY10" fmla="*/ 45528 h 365028"/>
              <a:gd name="connsiteX11" fmla="*/ 213538 w 213537"/>
              <a:gd name="connsiteY11" fmla="*/ 64061 h 365028"/>
              <a:gd name="connsiteX12" fmla="*/ 213538 w 213537"/>
              <a:gd name="connsiteY12" fmla="*/ 64061 h 365028"/>
              <a:gd name="connsiteX13" fmla="*/ 213538 w 213537"/>
              <a:gd name="connsiteY13" fmla="*/ 64061 h 365028"/>
              <a:gd name="connsiteX14" fmla="*/ 213538 w 213537"/>
              <a:gd name="connsiteY14" fmla="*/ 338840 h 365028"/>
              <a:gd name="connsiteX15" fmla="*/ 213538 w 213537"/>
              <a:gd name="connsiteY15" fmla="*/ 338840 h 365028"/>
              <a:gd name="connsiteX16" fmla="*/ 213538 w 213537"/>
              <a:gd name="connsiteY16" fmla="*/ 338840 h 365028"/>
              <a:gd name="connsiteX17" fmla="*/ 205883 w 213537"/>
              <a:gd name="connsiteY17" fmla="*/ 357374 h 365028"/>
              <a:gd name="connsiteX18" fmla="*/ 187349 w 213537"/>
              <a:gd name="connsiteY18" fmla="*/ 365029 h 365028"/>
              <a:gd name="connsiteX19" fmla="*/ 187349 w 213537"/>
              <a:gd name="connsiteY19" fmla="*/ 365029 h 365028"/>
              <a:gd name="connsiteX20" fmla="*/ 187349 w 213537"/>
              <a:gd name="connsiteY20" fmla="*/ 365029 h 365028"/>
              <a:gd name="connsiteX21" fmla="*/ 26189 w 213537"/>
              <a:gd name="connsiteY21" fmla="*/ 365029 h 365028"/>
              <a:gd name="connsiteX22" fmla="*/ 26189 w 213537"/>
              <a:gd name="connsiteY22" fmla="*/ 365029 h 365028"/>
              <a:gd name="connsiteX23" fmla="*/ 26189 w 213537"/>
              <a:gd name="connsiteY23" fmla="*/ 365029 h 365028"/>
              <a:gd name="connsiteX24" fmla="*/ 7655 w 213537"/>
              <a:gd name="connsiteY24" fmla="*/ 357374 h 365028"/>
              <a:gd name="connsiteX25" fmla="*/ 0 w 213537"/>
              <a:gd name="connsiteY25" fmla="*/ 338840 h 365028"/>
              <a:gd name="connsiteX26" fmla="*/ 0 w 213537"/>
              <a:gd name="connsiteY26" fmla="*/ 338840 h 365028"/>
              <a:gd name="connsiteX27" fmla="*/ 0 w 213537"/>
              <a:gd name="connsiteY27" fmla="*/ 338840 h 365028"/>
              <a:gd name="connsiteX28" fmla="*/ 0 w 213537"/>
              <a:gd name="connsiteY28" fmla="*/ 64061 h 365028"/>
              <a:gd name="connsiteX29" fmla="*/ 0 w 213537"/>
              <a:gd name="connsiteY29" fmla="*/ 64061 h 365028"/>
              <a:gd name="connsiteX30" fmla="*/ 0 w 213537"/>
              <a:gd name="connsiteY30" fmla="*/ 64061 h 365028"/>
              <a:gd name="connsiteX31" fmla="*/ 7655 w 213537"/>
              <a:gd name="connsiteY31" fmla="*/ 45528 h 365028"/>
              <a:gd name="connsiteX32" fmla="*/ 26591 w 213537"/>
              <a:gd name="connsiteY32" fmla="*/ 37873 h 365028"/>
              <a:gd name="connsiteX33" fmla="*/ 26591 w 213537"/>
              <a:gd name="connsiteY33" fmla="*/ 37873 h 365028"/>
              <a:gd name="connsiteX34" fmla="*/ 26591 w 213537"/>
              <a:gd name="connsiteY34" fmla="*/ 37873 h 365028"/>
              <a:gd name="connsiteX35" fmla="*/ 26591 w 213537"/>
              <a:gd name="connsiteY35" fmla="*/ 37873 h 365028"/>
              <a:gd name="connsiteX36" fmla="*/ 112409 w 213537"/>
              <a:gd name="connsiteY36" fmla="*/ 131749 h 365028"/>
              <a:gd name="connsiteX37" fmla="*/ 112409 w 213537"/>
              <a:gd name="connsiteY37" fmla="*/ 178888 h 365028"/>
              <a:gd name="connsiteX38" fmla="*/ 141821 w 213537"/>
              <a:gd name="connsiteY38" fmla="*/ 178888 h 365028"/>
              <a:gd name="connsiteX39" fmla="*/ 147059 w 213537"/>
              <a:gd name="connsiteY39" fmla="*/ 184126 h 365028"/>
              <a:gd name="connsiteX40" fmla="*/ 146656 w 213537"/>
              <a:gd name="connsiteY40" fmla="*/ 186543 h 365028"/>
              <a:gd name="connsiteX41" fmla="*/ 112409 w 213537"/>
              <a:gd name="connsiteY41" fmla="*/ 270347 h 365028"/>
              <a:gd name="connsiteX42" fmla="*/ 105963 w 213537"/>
              <a:gd name="connsiteY42" fmla="*/ 273167 h 365028"/>
              <a:gd name="connsiteX43" fmla="*/ 102740 w 213537"/>
              <a:gd name="connsiteY43" fmla="*/ 268332 h 365028"/>
              <a:gd name="connsiteX44" fmla="*/ 102740 w 213537"/>
              <a:gd name="connsiteY44" fmla="*/ 268332 h 365028"/>
              <a:gd name="connsiteX45" fmla="*/ 102740 w 213537"/>
              <a:gd name="connsiteY45" fmla="*/ 221193 h 365028"/>
              <a:gd name="connsiteX46" fmla="*/ 73328 w 213537"/>
              <a:gd name="connsiteY46" fmla="*/ 221193 h 365028"/>
              <a:gd name="connsiteX47" fmla="*/ 68090 w 213537"/>
              <a:gd name="connsiteY47" fmla="*/ 215955 h 365028"/>
              <a:gd name="connsiteX48" fmla="*/ 68493 w 213537"/>
              <a:gd name="connsiteY48" fmla="*/ 213538 h 365028"/>
              <a:gd name="connsiteX49" fmla="*/ 102740 w 213537"/>
              <a:gd name="connsiteY49" fmla="*/ 130137 h 365028"/>
              <a:gd name="connsiteX50" fmla="*/ 109186 w 213537"/>
              <a:gd name="connsiteY50" fmla="*/ 127317 h 365028"/>
              <a:gd name="connsiteX51" fmla="*/ 112409 w 213537"/>
              <a:gd name="connsiteY51" fmla="*/ 131749 h 365028"/>
              <a:gd name="connsiteX52" fmla="*/ 112409 w 213537"/>
              <a:gd name="connsiteY52" fmla="*/ 131749 h 365028"/>
              <a:gd name="connsiteX53" fmla="*/ 112409 w 213537"/>
              <a:gd name="connsiteY53" fmla="*/ 131749 h 365028"/>
              <a:gd name="connsiteX54" fmla="*/ 187752 w 213537"/>
              <a:gd name="connsiteY54" fmla="*/ 63256 h 365028"/>
              <a:gd name="connsiteX55" fmla="*/ 26591 w 213537"/>
              <a:gd name="connsiteY55" fmla="*/ 63256 h 365028"/>
              <a:gd name="connsiteX56" fmla="*/ 26591 w 213537"/>
              <a:gd name="connsiteY56" fmla="*/ 63256 h 365028"/>
              <a:gd name="connsiteX57" fmla="*/ 26591 w 213537"/>
              <a:gd name="connsiteY57" fmla="*/ 63256 h 365028"/>
              <a:gd name="connsiteX58" fmla="*/ 26189 w 213537"/>
              <a:gd name="connsiteY58" fmla="*/ 63658 h 365028"/>
              <a:gd name="connsiteX59" fmla="*/ 25786 w 213537"/>
              <a:gd name="connsiteY59" fmla="*/ 64061 h 365028"/>
              <a:gd name="connsiteX60" fmla="*/ 25786 w 213537"/>
              <a:gd name="connsiteY60" fmla="*/ 64061 h 365028"/>
              <a:gd name="connsiteX61" fmla="*/ 25786 w 213537"/>
              <a:gd name="connsiteY61" fmla="*/ 64061 h 365028"/>
              <a:gd name="connsiteX62" fmla="*/ 25786 w 213537"/>
              <a:gd name="connsiteY62" fmla="*/ 338840 h 365028"/>
              <a:gd name="connsiteX63" fmla="*/ 25786 w 213537"/>
              <a:gd name="connsiteY63" fmla="*/ 338840 h 365028"/>
              <a:gd name="connsiteX64" fmla="*/ 25786 w 213537"/>
              <a:gd name="connsiteY64" fmla="*/ 338840 h 365028"/>
              <a:gd name="connsiteX65" fmla="*/ 26189 w 213537"/>
              <a:gd name="connsiteY65" fmla="*/ 339243 h 365028"/>
              <a:gd name="connsiteX66" fmla="*/ 26591 w 213537"/>
              <a:gd name="connsiteY66" fmla="*/ 339646 h 365028"/>
              <a:gd name="connsiteX67" fmla="*/ 26591 w 213537"/>
              <a:gd name="connsiteY67" fmla="*/ 339646 h 365028"/>
              <a:gd name="connsiteX68" fmla="*/ 26591 w 213537"/>
              <a:gd name="connsiteY68" fmla="*/ 339646 h 365028"/>
              <a:gd name="connsiteX69" fmla="*/ 187752 w 213537"/>
              <a:gd name="connsiteY69" fmla="*/ 339646 h 365028"/>
              <a:gd name="connsiteX70" fmla="*/ 187752 w 213537"/>
              <a:gd name="connsiteY70" fmla="*/ 339646 h 365028"/>
              <a:gd name="connsiteX71" fmla="*/ 187752 w 213537"/>
              <a:gd name="connsiteY71" fmla="*/ 339646 h 365028"/>
              <a:gd name="connsiteX72" fmla="*/ 188155 w 213537"/>
              <a:gd name="connsiteY72" fmla="*/ 339243 h 365028"/>
              <a:gd name="connsiteX73" fmla="*/ 188558 w 213537"/>
              <a:gd name="connsiteY73" fmla="*/ 338840 h 365028"/>
              <a:gd name="connsiteX74" fmla="*/ 188558 w 213537"/>
              <a:gd name="connsiteY74" fmla="*/ 338840 h 365028"/>
              <a:gd name="connsiteX75" fmla="*/ 188558 w 213537"/>
              <a:gd name="connsiteY75" fmla="*/ 338840 h 365028"/>
              <a:gd name="connsiteX76" fmla="*/ 188558 w 213537"/>
              <a:gd name="connsiteY76" fmla="*/ 64061 h 365028"/>
              <a:gd name="connsiteX77" fmla="*/ 188558 w 213537"/>
              <a:gd name="connsiteY77" fmla="*/ 64061 h 365028"/>
              <a:gd name="connsiteX78" fmla="*/ 188558 w 213537"/>
              <a:gd name="connsiteY78" fmla="*/ 64061 h 365028"/>
              <a:gd name="connsiteX79" fmla="*/ 188155 w 213537"/>
              <a:gd name="connsiteY79" fmla="*/ 63658 h 365028"/>
              <a:gd name="connsiteX80" fmla="*/ 187752 w 213537"/>
              <a:gd name="connsiteY80" fmla="*/ 63256 h 365028"/>
              <a:gd name="connsiteX81" fmla="*/ 187752 w 213537"/>
              <a:gd name="connsiteY81" fmla="*/ 63256 h 365028"/>
              <a:gd name="connsiteX82" fmla="*/ 187752 w 213537"/>
              <a:gd name="connsiteY82" fmla="*/ 63256 h 365028"/>
              <a:gd name="connsiteX83" fmla="*/ 187752 w 213537"/>
              <a:gd name="connsiteY83" fmla="*/ 63256 h 3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13537" h="365028">
                <a:moveTo>
                  <a:pt x="26591" y="37873"/>
                </a:moveTo>
                <a:lnTo>
                  <a:pt x="70508" y="37873"/>
                </a:lnTo>
                <a:lnTo>
                  <a:pt x="70508" y="14504"/>
                </a:lnTo>
                <a:cubicBezTo>
                  <a:pt x="70508" y="6446"/>
                  <a:pt x="76954" y="0"/>
                  <a:pt x="85012" y="0"/>
                </a:cubicBezTo>
                <a:lnTo>
                  <a:pt x="128929" y="0"/>
                </a:lnTo>
                <a:cubicBezTo>
                  <a:pt x="136987" y="0"/>
                  <a:pt x="143433" y="6446"/>
                  <a:pt x="143433" y="14504"/>
                </a:cubicBezTo>
                <a:lnTo>
                  <a:pt x="143433" y="37873"/>
                </a:lnTo>
                <a:lnTo>
                  <a:pt x="187349" y="37873"/>
                </a:lnTo>
                <a:lnTo>
                  <a:pt x="187349" y="37873"/>
                </a:lnTo>
                <a:lnTo>
                  <a:pt x="187349" y="37873"/>
                </a:lnTo>
                <a:cubicBezTo>
                  <a:pt x="194601" y="37873"/>
                  <a:pt x="201048" y="40693"/>
                  <a:pt x="205883" y="45528"/>
                </a:cubicBezTo>
                <a:cubicBezTo>
                  <a:pt x="210718" y="50363"/>
                  <a:pt x="213538" y="56809"/>
                  <a:pt x="213538" y="64061"/>
                </a:cubicBezTo>
                <a:lnTo>
                  <a:pt x="213538" y="64061"/>
                </a:lnTo>
                <a:lnTo>
                  <a:pt x="213538" y="64061"/>
                </a:lnTo>
                <a:lnTo>
                  <a:pt x="213538" y="338840"/>
                </a:lnTo>
                <a:lnTo>
                  <a:pt x="213538" y="338840"/>
                </a:lnTo>
                <a:lnTo>
                  <a:pt x="213538" y="338840"/>
                </a:lnTo>
                <a:cubicBezTo>
                  <a:pt x="213538" y="346093"/>
                  <a:pt x="210718" y="352539"/>
                  <a:pt x="205883" y="357374"/>
                </a:cubicBezTo>
                <a:cubicBezTo>
                  <a:pt x="201048" y="362209"/>
                  <a:pt x="194601" y="365029"/>
                  <a:pt x="187349" y="365029"/>
                </a:cubicBezTo>
                <a:lnTo>
                  <a:pt x="187349" y="365029"/>
                </a:lnTo>
                <a:lnTo>
                  <a:pt x="187349" y="365029"/>
                </a:lnTo>
                <a:lnTo>
                  <a:pt x="26189" y="365029"/>
                </a:lnTo>
                <a:lnTo>
                  <a:pt x="26189" y="365029"/>
                </a:lnTo>
                <a:lnTo>
                  <a:pt x="26189" y="365029"/>
                </a:lnTo>
                <a:cubicBezTo>
                  <a:pt x="18936" y="365029"/>
                  <a:pt x="12490" y="362209"/>
                  <a:pt x="7655" y="357374"/>
                </a:cubicBezTo>
                <a:cubicBezTo>
                  <a:pt x="2820" y="352539"/>
                  <a:pt x="0" y="346093"/>
                  <a:pt x="0" y="338840"/>
                </a:cubicBezTo>
                <a:lnTo>
                  <a:pt x="0" y="338840"/>
                </a:lnTo>
                <a:lnTo>
                  <a:pt x="0" y="338840"/>
                </a:lnTo>
                <a:lnTo>
                  <a:pt x="0" y="64061"/>
                </a:lnTo>
                <a:lnTo>
                  <a:pt x="0" y="64061"/>
                </a:lnTo>
                <a:lnTo>
                  <a:pt x="0" y="64061"/>
                </a:lnTo>
                <a:cubicBezTo>
                  <a:pt x="0" y="56809"/>
                  <a:pt x="2820" y="50363"/>
                  <a:pt x="7655" y="45528"/>
                </a:cubicBezTo>
                <a:cubicBezTo>
                  <a:pt x="12893" y="40693"/>
                  <a:pt x="19339" y="37873"/>
                  <a:pt x="26591" y="37873"/>
                </a:cubicBezTo>
                <a:lnTo>
                  <a:pt x="26591" y="37873"/>
                </a:lnTo>
                <a:lnTo>
                  <a:pt x="26591" y="37873"/>
                </a:lnTo>
                <a:lnTo>
                  <a:pt x="26591" y="37873"/>
                </a:lnTo>
                <a:close/>
                <a:moveTo>
                  <a:pt x="112409" y="131749"/>
                </a:moveTo>
                <a:lnTo>
                  <a:pt x="112409" y="178888"/>
                </a:lnTo>
                <a:lnTo>
                  <a:pt x="141821" y="178888"/>
                </a:lnTo>
                <a:cubicBezTo>
                  <a:pt x="144642" y="178888"/>
                  <a:pt x="147059" y="181306"/>
                  <a:pt x="147059" y="184126"/>
                </a:cubicBezTo>
                <a:cubicBezTo>
                  <a:pt x="147059" y="184932"/>
                  <a:pt x="147059" y="185738"/>
                  <a:pt x="146656" y="186543"/>
                </a:cubicBezTo>
                <a:lnTo>
                  <a:pt x="112409" y="270347"/>
                </a:lnTo>
                <a:cubicBezTo>
                  <a:pt x="111201" y="272764"/>
                  <a:pt x="108380" y="274376"/>
                  <a:pt x="105963" y="273167"/>
                </a:cubicBezTo>
                <a:cubicBezTo>
                  <a:pt x="103949" y="272362"/>
                  <a:pt x="102740" y="270347"/>
                  <a:pt x="102740" y="268332"/>
                </a:cubicBezTo>
                <a:lnTo>
                  <a:pt x="102740" y="268332"/>
                </a:lnTo>
                <a:lnTo>
                  <a:pt x="102740" y="221193"/>
                </a:lnTo>
                <a:lnTo>
                  <a:pt x="73328" y="221193"/>
                </a:lnTo>
                <a:cubicBezTo>
                  <a:pt x="70508" y="221193"/>
                  <a:pt x="68090" y="218776"/>
                  <a:pt x="68090" y="215955"/>
                </a:cubicBezTo>
                <a:cubicBezTo>
                  <a:pt x="68090" y="215149"/>
                  <a:pt x="68493" y="214344"/>
                  <a:pt x="68493" y="213538"/>
                </a:cubicBezTo>
                <a:lnTo>
                  <a:pt x="102740" y="130137"/>
                </a:lnTo>
                <a:cubicBezTo>
                  <a:pt x="103949" y="127720"/>
                  <a:pt x="106769" y="126108"/>
                  <a:pt x="109186" y="127317"/>
                </a:cubicBezTo>
                <a:cubicBezTo>
                  <a:pt x="111201" y="127720"/>
                  <a:pt x="112409" y="129734"/>
                  <a:pt x="112409" y="131749"/>
                </a:cubicBezTo>
                <a:lnTo>
                  <a:pt x="112409" y="131749"/>
                </a:lnTo>
                <a:lnTo>
                  <a:pt x="112409" y="131749"/>
                </a:lnTo>
                <a:close/>
                <a:moveTo>
                  <a:pt x="187752" y="63256"/>
                </a:moveTo>
                <a:lnTo>
                  <a:pt x="26591" y="63256"/>
                </a:lnTo>
                <a:lnTo>
                  <a:pt x="26591" y="63256"/>
                </a:lnTo>
                <a:lnTo>
                  <a:pt x="26591" y="63256"/>
                </a:lnTo>
                <a:cubicBezTo>
                  <a:pt x="26591" y="63256"/>
                  <a:pt x="26189" y="63256"/>
                  <a:pt x="26189" y="63658"/>
                </a:cubicBezTo>
                <a:cubicBezTo>
                  <a:pt x="26189" y="63658"/>
                  <a:pt x="25786" y="64061"/>
                  <a:pt x="25786" y="64061"/>
                </a:cubicBezTo>
                <a:lnTo>
                  <a:pt x="25786" y="64061"/>
                </a:lnTo>
                <a:lnTo>
                  <a:pt x="25786" y="64061"/>
                </a:lnTo>
                <a:lnTo>
                  <a:pt x="25786" y="338840"/>
                </a:lnTo>
                <a:lnTo>
                  <a:pt x="25786" y="338840"/>
                </a:lnTo>
                <a:lnTo>
                  <a:pt x="25786" y="338840"/>
                </a:lnTo>
                <a:cubicBezTo>
                  <a:pt x="25786" y="338840"/>
                  <a:pt x="25786" y="339243"/>
                  <a:pt x="26189" y="339243"/>
                </a:cubicBezTo>
                <a:cubicBezTo>
                  <a:pt x="26189" y="339243"/>
                  <a:pt x="26591" y="339646"/>
                  <a:pt x="26591" y="339646"/>
                </a:cubicBezTo>
                <a:lnTo>
                  <a:pt x="26591" y="339646"/>
                </a:lnTo>
                <a:lnTo>
                  <a:pt x="26591" y="339646"/>
                </a:lnTo>
                <a:lnTo>
                  <a:pt x="187752" y="339646"/>
                </a:lnTo>
                <a:lnTo>
                  <a:pt x="187752" y="339646"/>
                </a:lnTo>
                <a:lnTo>
                  <a:pt x="187752" y="339646"/>
                </a:lnTo>
                <a:cubicBezTo>
                  <a:pt x="187752" y="339646"/>
                  <a:pt x="188155" y="339646"/>
                  <a:pt x="188155" y="339243"/>
                </a:cubicBezTo>
                <a:cubicBezTo>
                  <a:pt x="188155" y="339243"/>
                  <a:pt x="188558" y="338840"/>
                  <a:pt x="188558" y="338840"/>
                </a:cubicBezTo>
                <a:lnTo>
                  <a:pt x="188558" y="338840"/>
                </a:lnTo>
                <a:lnTo>
                  <a:pt x="188558" y="338840"/>
                </a:lnTo>
                <a:lnTo>
                  <a:pt x="188558" y="64061"/>
                </a:lnTo>
                <a:lnTo>
                  <a:pt x="188558" y="64061"/>
                </a:lnTo>
                <a:lnTo>
                  <a:pt x="188558" y="64061"/>
                </a:lnTo>
                <a:cubicBezTo>
                  <a:pt x="188558" y="64061"/>
                  <a:pt x="188558" y="63658"/>
                  <a:pt x="188155" y="63658"/>
                </a:cubicBezTo>
                <a:cubicBezTo>
                  <a:pt x="188155" y="63256"/>
                  <a:pt x="187752" y="63256"/>
                  <a:pt x="187752" y="63256"/>
                </a:cubicBezTo>
                <a:lnTo>
                  <a:pt x="187752" y="63256"/>
                </a:lnTo>
                <a:lnTo>
                  <a:pt x="187752" y="63256"/>
                </a:lnTo>
                <a:lnTo>
                  <a:pt x="187752" y="63256"/>
                </a:ln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12" name="Content Placeholder 1394">
            <a:extLst>
              <a:ext uri="{FF2B5EF4-FFF2-40B4-BE49-F238E27FC236}">
                <a16:creationId xmlns:a16="http://schemas.microsoft.com/office/drawing/2014/main" id="{92D5E412-5110-7A7F-F9CE-AADBE22938D6}"/>
              </a:ext>
            </a:extLst>
          </p:cNvPr>
          <p:cNvGrpSpPr/>
          <p:nvPr/>
        </p:nvGrpSpPr>
        <p:grpSpPr>
          <a:xfrm>
            <a:off x="8019956" y="5232443"/>
            <a:ext cx="564678" cy="484512"/>
            <a:chOff x="8241921" y="4659386"/>
            <a:chExt cx="388800" cy="333602"/>
          </a:xfrm>
          <a:solidFill>
            <a:schemeClr val="tx2"/>
          </a:solidFill>
        </p:grpSpPr>
        <p:sp>
          <p:nvSpPr>
            <p:cNvPr id="13" name="Freeform 1427">
              <a:extLst>
                <a:ext uri="{FF2B5EF4-FFF2-40B4-BE49-F238E27FC236}">
                  <a16:creationId xmlns:a16="http://schemas.microsoft.com/office/drawing/2014/main" id="{EE13CF90-B295-F04C-5F56-74CE389B7A9D}"/>
                </a:ext>
              </a:extLst>
            </p:cNvPr>
            <p:cNvSpPr/>
            <p:nvPr/>
          </p:nvSpPr>
          <p:spPr>
            <a:xfrm>
              <a:off x="8303162" y="4824575"/>
              <a:ext cx="118452" cy="86623"/>
            </a:xfrm>
            <a:custGeom>
              <a:avLst/>
              <a:gdLst>
                <a:gd name="connsiteX0" fmla="*/ 12087 w 118452"/>
                <a:gd name="connsiteY0" fmla="*/ 0 h 86623"/>
                <a:gd name="connsiteX1" fmla="*/ 0 w 118452"/>
                <a:gd name="connsiteY1" fmla="*/ 12087 h 86623"/>
                <a:gd name="connsiteX2" fmla="*/ 0 w 118452"/>
                <a:gd name="connsiteY2" fmla="*/ 74537 h 86623"/>
                <a:gd name="connsiteX3" fmla="*/ 12087 w 118452"/>
                <a:gd name="connsiteY3" fmla="*/ 86624 h 86623"/>
                <a:gd name="connsiteX4" fmla="*/ 106366 w 118452"/>
                <a:gd name="connsiteY4" fmla="*/ 86624 h 86623"/>
                <a:gd name="connsiteX5" fmla="*/ 118453 w 118452"/>
                <a:gd name="connsiteY5" fmla="*/ 74537 h 86623"/>
                <a:gd name="connsiteX6" fmla="*/ 118453 w 118452"/>
                <a:gd name="connsiteY6" fmla="*/ 12087 h 86623"/>
                <a:gd name="connsiteX7" fmla="*/ 106366 w 118452"/>
                <a:gd name="connsiteY7" fmla="*/ 0 h 86623"/>
                <a:gd name="connsiteX8" fmla="*/ 69702 w 118452"/>
                <a:gd name="connsiteY8" fmla="*/ 0 h 86623"/>
                <a:gd name="connsiteX9" fmla="*/ 69702 w 118452"/>
                <a:gd name="connsiteY9" fmla="*/ 18534 h 86623"/>
                <a:gd name="connsiteX10" fmla="*/ 59227 w 118452"/>
                <a:gd name="connsiteY10" fmla="*/ 29009 h 86623"/>
                <a:gd name="connsiteX11" fmla="*/ 48751 w 118452"/>
                <a:gd name="connsiteY11" fmla="*/ 18534 h 86623"/>
                <a:gd name="connsiteX12" fmla="*/ 48751 w 118452"/>
                <a:gd name="connsiteY12" fmla="*/ 0 h 86623"/>
                <a:gd name="connsiteX13" fmla="*/ 12087 w 118452"/>
                <a:gd name="connsiteY13" fmla="*/ 0 h 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52" h="86623">
                  <a:moveTo>
                    <a:pt x="12087" y="0"/>
                  </a:moveTo>
                  <a:cubicBezTo>
                    <a:pt x="5238" y="0"/>
                    <a:pt x="0" y="5641"/>
                    <a:pt x="0" y="12087"/>
                  </a:cubicBezTo>
                  <a:lnTo>
                    <a:pt x="0" y="74537"/>
                  </a:lnTo>
                  <a:cubicBezTo>
                    <a:pt x="0" y="81386"/>
                    <a:pt x="5640" y="86624"/>
                    <a:pt x="12087" y="86624"/>
                  </a:cubicBezTo>
                  <a:lnTo>
                    <a:pt x="106366" y="86624"/>
                  </a:lnTo>
                  <a:cubicBezTo>
                    <a:pt x="113215" y="86624"/>
                    <a:pt x="118453" y="80983"/>
                    <a:pt x="118453" y="74537"/>
                  </a:cubicBezTo>
                  <a:lnTo>
                    <a:pt x="118453" y="12087"/>
                  </a:lnTo>
                  <a:cubicBezTo>
                    <a:pt x="118453" y="5238"/>
                    <a:pt x="112812" y="0"/>
                    <a:pt x="106366" y="0"/>
                  </a:cubicBezTo>
                  <a:lnTo>
                    <a:pt x="69702" y="0"/>
                  </a:lnTo>
                  <a:lnTo>
                    <a:pt x="69702" y="18534"/>
                  </a:lnTo>
                  <a:cubicBezTo>
                    <a:pt x="69702" y="24174"/>
                    <a:pt x="64867" y="29009"/>
                    <a:pt x="59227" y="29009"/>
                  </a:cubicBezTo>
                  <a:cubicBezTo>
                    <a:pt x="53586" y="29009"/>
                    <a:pt x="48751" y="24174"/>
                    <a:pt x="48751" y="18534"/>
                  </a:cubicBezTo>
                  <a:lnTo>
                    <a:pt x="48751" y="0"/>
                  </a:lnTo>
                  <a:lnTo>
                    <a:pt x="12087" y="0"/>
                  </a:ln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7" name="Freeform 1428">
              <a:extLst>
                <a:ext uri="{FF2B5EF4-FFF2-40B4-BE49-F238E27FC236}">
                  <a16:creationId xmlns:a16="http://schemas.microsoft.com/office/drawing/2014/main" id="{FC50EFFB-564D-B967-A1EB-E0B3AFB1FE00}"/>
                </a:ext>
              </a:extLst>
            </p:cNvPr>
            <p:cNvSpPr/>
            <p:nvPr/>
          </p:nvSpPr>
          <p:spPr>
            <a:xfrm>
              <a:off x="8451430" y="4824575"/>
              <a:ext cx="118453" cy="86623"/>
            </a:xfrm>
            <a:custGeom>
              <a:avLst/>
              <a:gdLst>
                <a:gd name="connsiteX0" fmla="*/ 12087 w 118453"/>
                <a:gd name="connsiteY0" fmla="*/ 0 h 86623"/>
                <a:gd name="connsiteX1" fmla="*/ 0 w 118453"/>
                <a:gd name="connsiteY1" fmla="*/ 12087 h 86623"/>
                <a:gd name="connsiteX2" fmla="*/ 0 w 118453"/>
                <a:gd name="connsiteY2" fmla="*/ 74537 h 86623"/>
                <a:gd name="connsiteX3" fmla="*/ 12087 w 118453"/>
                <a:gd name="connsiteY3" fmla="*/ 86624 h 86623"/>
                <a:gd name="connsiteX4" fmla="*/ 106366 w 118453"/>
                <a:gd name="connsiteY4" fmla="*/ 86624 h 86623"/>
                <a:gd name="connsiteX5" fmla="*/ 118453 w 118453"/>
                <a:gd name="connsiteY5" fmla="*/ 74537 h 86623"/>
                <a:gd name="connsiteX6" fmla="*/ 118453 w 118453"/>
                <a:gd name="connsiteY6" fmla="*/ 12087 h 86623"/>
                <a:gd name="connsiteX7" fmla="*/ 106366 w 118453"/>
                <a:gd name="connsiteY7" fmla="*/ 0 h 86623"/>
                <a:gd name="connsiteX8" fmla="*/ 69702 w 118453"/>
                <a:gd name="connsiteY8" fmla="*/ 0 h 86623"/>
                <a:gd name="connsiteX9" fmla="*/ 69702 w 118453"/>
                <a:gd name="connsiteY9" fmla="*/ 18534 h 86623"/>
                <a:gd name="connsiteX10" fmla="*/ 59227 w 118453"/>
                <a:gd name="connsiteY10" fmla="*/ 29009 h 86623"/>
                <a:gd name="connsiteX11" fmla="*/ 48751 w 118453"/>
                <a:gd name="connsiteY11" fmla="*/ 18534 h 86623"/>
                <a:gd name="connsiteX12" fmla="*/ 48751 w 118453"/>
                <a:gd name="connsiteY12" fmla="*/ 0 h 86623"/>
                <a:gd name="connsiteX13" fmla="*/ 12087 w 118453"/>
                <a:gd name="connsiteY13" fmla="*/ 0 h 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453" h="86623">
                  <a:moveTo>
                    <a:pt x="12087" y="0"/>
                  </a:moveTo>
                  <a:cubicBezTo>
                    <a:pt x="5238" y="0"/>
                    <a:pt x="0" y="5641"/>
                    <a:pt x="0" y="12087"/>
                  </a:cubicBezTo>
                  <a:lnTo>
                    <a:pt x="0" y="74537"/>
                  </a:lnTo>
                  <a:cubicBezTo>
                    <a:pt x="0" y="81386"/>
                    <a:pt x="5641" y="86624"/>
                    <a:pt x="12087" y="86624"/>
                  </a:cubicBezTo>
                  <a:lnTo>
                    <a:pt x="106366" y="86624"/>
                  </a:lnTo>
                  <a:cubicBezTo>
                    <a:pt x="113215" y="86624"/>
                    <a:pt x="118453" y="80983"/>
                    <a:pt x="118453" y="74537"/>
                  </a:cubicBezTo>
                  <a:lnTo>
                    <a:pt x="118453" y="12087"/>
                  </a:lnTo>
                  <a:cubicBezTo>
                    <a:pt x="118453" y="5238"/>
                    <a:pt x="112812" y="0"/>
                    <a:pt x="106366" y="0"/>
                  </a:cubicBezTo>
                  <a:lnTo>
                    <a:pt x="69702" y="0"/>
                  </a:lnTo>
                  <a:lnTo>
                    <a:pt x="69702" y="18534"/>
                  </a:lnTo>
                  <a:cubicBezTo>
                    <a:pt x="69702" y="24174"/>
                    <a:pt x="64867" y="29009"/>
                    <a:pt x="59227" y="29009"/>
                  </a:cubicBezTo>
                  <a:cubicBezTo>
                    <a:pt x="53586" y="29009"/>
                    <a:pt x="48751" y="24174"/>
                    <a:pt x="48751" y="18534"/>
                  </a:cubicBezTo>
                  <a:lnTo>
                    <a:pt x="48751" y="0"/>
                  </a:lnTo>
                  <a:lnTo>
                    <a:pt x="12087" y="0"/>
                  </a:ln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0" name="Freeform 1429">
              <a:extLst>
                <a:ext uri="{FF2B5EF4-FFF2-40B4-BE49-F238E27FC236}">
                  <a16:creationId xmlns:a16="http://schemas.microsoft.com/office/drawing/2014/main" id="{6E47BA40-24C9-AA39-E5FE-1407EA6C9229}"/>
                </a:ext>
              </a:extLst>
            </p:cNvPr>
            <p:cNvSpPr/>
            <p:nvPr/>
          </p:nvSpPr>
          <p:spPr>
            <a:xfrm>
              <a:off x="8241921" y="4929330"/>
              <a:ext cx="388800" cy="63658"/>
            </a:xfrm>
            <a:custGeom>
              <a:avLst/>
              <a:gdLst>
                <a:gd name="connsiteX0" fmla="*/ 356971 w 388800"/>
                <a:gd name="connsiteY0" fmla="*/ 0 h 63658"/>
                <a:gd name="connsiteX1" fmla="*/ 31829 w 388800"/>
                <a:gd name="connsiteY1" fmla="*/ 0 h 63658"/>
                <a:gd name="connsiteX2" fmla="*/ 0 w 388800"/>
                <a:gd name="connsiteY2" fmla="*/ 31829 h 63658"/>
                <a:gd name="connsiteX3" fmla="*/ 31829 w 388800"/>
                <a:gd name="connsiteY3" fmla="*/ 63658 h 63658"/>
                <a:gd name="connsiteX4" fmla="*/ 356971 w 388800"/>
                <a:gd name="connsiteY4" fmla="*/ 63658 h 63658"/>
                <a:gd name="connsiteX5" fmla="*/ 388800 w 388800"/>
                <a:gd name="connsiteY5" fmla="*/ 31829 h 63658"/>
                <a:gd name="connsiteX6" fmla="*/ 356971 w 388800"/>
                <a:gd name="connsiteY6" fmla="*/ 0 h 63658"/>
                <a:gd name="connsiteX7" fmla="*/ 31829 w 388800"/>
                <a:gd name="connsiteY7" fmla="*/ 45528 h 63658"/>
                <a:gd name="connsiteX8" fmla="*/ 18131 w 388800"/>
                <a:gd name="connsiteY8" fmla="*/ 31829 h 63658"/>
                <a:gd name="connsiteX9" fmla="*/ 31829 w 388800"/>
                <a:gd name="connsiteY9" fmla="*/ 18131 h 63658"/>
                <a:gd name="connsiteX10" fmla="*/ 45528 w 388800"/>
                <a:gd name="connsiteY10" fmla="*/ 31829 h 63658"/>
                <a:gd name="connsiteX11" fmla="*/ 31829 w 388800"/>
                <a:gd name="connsiteY11" fmla="*/ 45528 h 63658"/>
                <a:gd name="connsiteX12" fmla="*/ 78566 w 388800"/>
                <a:gd name="connsiteY12" fmla="*/ 45528 h 63658"/>
                <a:gd name="connsiteX13" fmla="*/ 64867 w 388800"/>
                <a:gd name="connsiteY13" fmla="*/ 31829 h 63658"/>
                <a:gd name="connsiteX14" fmla="*/ 78566 w 388800"/>
                <a:gd name="connsiteY14" fmla="*/ 18131 h 63658"/>
                <a:gd name="connsiteX15" fmla="*/ 92265 w 388800"/>
                <a:gd name="connsiteY15" fmla="*/ 31829 h 63658"/>
                <a:gd name="connsiteX16" fmla="*/ 78566 w 388800"/>
                <a:gd name="connsiteY16" fmla="*/ 45528 h 63658"/>
                <a:gd name="connsiteX17" fmla="*/ 124900 w 388800"/>
                <a:gd name="connsiteY17" fmla="*/ 45528 h 63658"/>
                <a:gd name="connsiteX18" fmla="*/ 111201 w 388800"/>
                <a:gd name="connsiteY18" fmla="*/ 31829 h 63658"/>
                <a:gd name="connsiteX19" fmla="*/ 124900 w 388800"/>
                <a:gd name="connsiteY19" fmla="*/ 18131 h 63658"/>
                <a:gd name="connsiteX20" fmla="*/ 138598 w 388800"/>
                <a:gd name="connsiteY20" fmla="*/ 31829 h 63658"/>
                <a:gd name="connsiteX21" fmla="*/ 124900 w 388800"/>
                <a:gd name="connsiteY21" fmla="*/ 45528 h 63658"/>
                <a:gd name="connsiteX22" fmla="*/ 171233 w 388800"/>
                <a:gd name="connsiteY22" fmla="*/ 45528 h 63658"/>
                <a:gd name="connsiteX23" fmla="*/ 157534 w 388800"/>
                <a:gd name="connsiteY23" fmla="*/ 31829 h 63658"/>
                <a:gd name="connsiteX24" fmla="*/ 171233 w 388800"/>
                <a:gd name="connsiteY24" fmla="*/ 18131 h 63658"/>
                <a:gd name="connsiteX25" fmla="*/ 184932 w 388800"/>
                <a:gd name="connsiteY25" fmla="*/ 31829 h 63658"/>
                <a:gd name="connsiteX26" fmla="*/ 171233 w 388800"/>
                <a:gd name="connsiteY26" fmla="*/ 45528 h 63658"/>
                <a:gd name="connsiteX27" fmla="*/ 217970 w 388800"/>
                <a:gd name="connsiteY27" fmla="*/ 45528 h 63658"/>
                <a:gd name="connsiteX28" fmla="*/ 204271 w 388800"/>
                <a:gd name="connsiteY28" fmla="*/ 31829 h 63658"/>
                <a:gd name="connsiteX29" fmla="*/ 217970 w 388800"/>
                <a:gd name="connsiteY29" fmla="*/ 18131 h 63658"/>
                <a:gd name="connsiteX30" fmla="*/ 231668 w 388800"/>
                <a:gd name="connsiteY30" fmla="*/ 31829 h 63658"/>
                <a:gd name="connsiteX31" fmla="*/ 217970 w 388800"/>
                <a:gd name="connsiteY31" fmla="*/ 45528 h 63658"/>
                <a:gd name="connsiteX32" fmla="*/ 264303 w 388800"/>
                <a:gd name="connsiteY32" fmla="*/ 45528 h 63658"/>
                <a:gd name="connsiteX33" fmla="*/ 250605 w 388800"/>
                <a:gd name="connsiteY33" fmla="*/ 31829 h 63658"/>
                <a:gd name="connsiteX34" fmla="*/ 264303 w 388800"/>
                <a:gd name="connsiteY34" fmla="*/ 18131 h 63658"/>
                <a:gd name="connsiteX35" fmla="*/ 278002 w 388800"/>
                <a:gd name="connsiteY35" fmla="*/ 31829 h 63658"/>
                <a:gd name="connsiteX36" fmla="*/ 264303 w 388800"/>
                <a:gd name="connsiteY36" fmla="*/ 45528 h 63658"/>
                <a:gd name="connsiteX37" fmla="*/ 310637 w 388800"/>
                <a:gd name="connsiteY37" fmla="*/ 45528 h 63658"/>
                <a:gd name="connsiteX38" fmla="*/ 296939 w 388800"/>
                <a:gd name="connsiteY38" fmla="*/ 31829 h 63658"/>
                <a:gd name="connsiteX39" fmla="*/ 310637 w 388800"/>
                <a:gd name="connsiteY39" fmla="*/ 18131 h 63658"/>
                <a:gd name="connsiteX40" fmla="*/ 324336 w 388800"/>
                <a:gd name="connsiteY40" fmla="*/ 31829 h 63658"/>
                <a:gd name="connsiteX41" fmla="*/ 310637 w 388800"/>
                <a:gd name="connsiteY41" fmla="*/ 45528 h 63658"/>
                <a:gd name="connsiteX42" fmla="*/ 356971 w 388800"/>
                <a:gd name="connsiteY42" fmla="*/ 45528 h 63658"/>
                <a:gd name="connsiteX43" fmla="*/ 343272 w 388800"/>
                <a:gd name="connsiteY43" fmla="*/ 31829 h 63658"/>
                <a:gd name="connsiteX44" fmla="*/ 356971 w 388800"/>
                <a:gd name="connsiteY44" fmla="*/ 18131 h 63658"/>
                <a:gd name="connsiteX45" fmla="*/ 370670 w 388800"/>
                <a:gd name="connsiteY45" fmla="*/ 31829 h 63658"/>
                <a:gd name="connsiteX46" fmla="*/ 356971 w 388800"/>
                <a:gd name="connsiteY46" fmla="*/ 45528 h 6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8800" h="63658">
                  <a:moveTo>
                    <a:pt x="356971" y="0"/>
                  </a:moveTo>
                  <a:lnTo>
                    <a:pt x="31829" y="0"/>
                  </a:lnTo>
                  <a:cubicBezTo>
                    <a:pt x="14504" y="0"/>
                    <a:pt x="0" y="14102"/>
                    <a:pt x="0" y="31829"/>
                  </a:cubicBezTo>
                  <a:cubicBezTo>
                    <a:pt x="0" y="49557"/>
                    <a:pt x="14102" y="63658"/>
                    <a:pt x="31829" y="63658"/>
                  </a:cubicBezTo>
                  <a:lnTo>
                    <a:pt x="356971" y="63658"/>
                  </a:lnTo>
                  <a:cubicBezTo>
                    <a:pt x="374296" y="63658"/>
                    <a:pt x="388800" y="49557"/>
                    <a:pt x="388800" y="31829"/>
                  </a:cubicBezTo>
                  <a:cubicBezTo>
                    <a:pt x="388800" y="14504"/>
                    <a:pt x="374699" y="0"/>
                    <a:pt x="356971" y="0"/>
                  </a:cubicBezTo>
                  <a:close/>
                  <a:moveTo>
                    <a:pt x="31829" y="45528"/>
                  </a:moveTo>
                  <a:cubicBezTo>
                    <a:pt x="24174" y="45528"/>
                    <a:pt x="18131" y="39484"/>
                    <a:pt x="18131" y="31829"/>
                  </a:cubicBezTo>
                  <a:cubicBezTo>
                    <a:pt x="18131" y="24174"/>
                    <a:pt x="24174" y="18131"/>
                    <a:pt x="31829" y="18131"/>
                  </a:cubicBezTo>
                  <a:cubicBezTo>
                    <a:pt x="39484" y="18131"/>
                    <a:pt x="45528" y="24174"/>
                    <a:pt x="45528" y="31829"/>
                  </a:cubicBezTo>
                  <a:cubicBezTo>
                    <a:pt x="45931" y="39484"/>
                    <a:pt x="39484" y="45528"/>
                    <a:pt x="31829" y="45528"/>
                  </a:cubicBezTo>
                  <a:close/>
                  <a:moveTo>
                    <a:pt x="78566" y="45528"/>
                  </a:moveTo>
                  <a:cubicBezTo>
                    <a:pt x="70911" y="45528"/>
                    <a:pt x="64867" y="39484"/>
                    <a:pt x="64867" y="31829"/>
                  </a:cubicBezTo>
                  <a:cubicBezTo>
                    <a:pt x="64867" y="24174"/>
                    <a:pt x="70911" y="18131"/>
                    <a:pt x="78566" y="18131"/>
                  </a:cubicBezTo>
                  <a:cubicBezTo>
                    <a:pt x="86221" y="18131"/>
                    <a:pt x="92265" y="24174"/>
                    <a:pt x="92265" y="31829"/>
                  </a:cubicBezTo>
                  <a:cubicBezTo>
                    <a:pt x="92265" y="39484"/>
                    <a:pt x="85818" y="45528"/>
                    <a:pt x="78566" y="45528"/>
                  </a:cubicBezTo>
                  <a:close/>
                  <a:moveTo>
                    <a:pt x="124900" y="45528"/>
                  </a:moveTo>
                  <a:cubicBezTo>
                    <a:pt x="117244" y="45528"/>
                    <a:pt x="111201" y="39484"/>
                    <a:pt x="111201" y="31829"/>
                  </a:cubicBezTo>
                  <a:cubicBezTo>
                    <a:pt x="111201" y="24174"/>
                    <a:pt x="117244" y="18131"/>
                    <a:pt x="124900" y="18131"/>
                  </a:cubicBezTo>
                  <a:cubicBezTo>
                    <a:pt x="132555" y="18131"/>
                    <a:pt x="138598" y="24174"/>
                    <a:pt x="138598" y="31829"/>
                  </a:cubicBezTo>
                  <a:cubicBezTo>
                    <a:pt x="138598" y="39484"/>
                    <a:pt x="132555" y="45528"/>
                    <a:pt x="124900" y="45528"/>
                  </a:cubicBezTo>
                  <a:close/>
                  <a:moveTo>
                    <a:pt x="171233" y="45528"/>
                  </a:moveTo>
                  <a:cubicBezTo>
                    <a:pt x="163578" y="45528"/>
                    <a:pt x="157534" y="39484"/>
                    <a:pt x="157534" y="31829"/>
                  </a:cubicBezTo>
                  <a:cubicBezTo>
                    <a:pt x="157534" y="24174"/>
                    <a:pt x="163578" y="18131"/>
                    <a:pt x="171233" y="18131"/>
                  </a:cubicBezTo>
                  <a:cubicBezTo>
                    <a:pt x="178888" y="18131"/>
                    <a:pt x="184932" y="24174"/>
                    <a:pt x="184932" y="31829"/>
                  </a:cubicBezTo>
                  <a:cubicBezTo>
                    <a:pt x="184932" y="39484"/>
                    <a:pt x="178888" y="45528"/>
                    <a:pt x="171233" y="45528"/>
                  </a:cubicBezTo>
                  <a:close/>
                  <a:moveTo>
                    <a:pt x="217970" y="45528"/>
                  </a:moveTo>
                  <a:cubicBezTo>
                    <a:pt x="210315" y="45528"/>
                    <a:pt x="204271" y="39484"/>
                    <a:pt x="204271" y="31829"/>
                  </a:cubicBezTo>
                  <a:cubicBezTo>
                    <a:pt x="204271" y="24174"/>
                    <a:pt x="210315" y="18131"/>
                    <a:pt x="217970" y="18131"/>
                  </a:cubicBezTo>
                  <a:cubicBezTo>
                    <a:pt x="225625" y="18131"/>
                    <a:pt x="231668" y="24174"/>
                    <a:pt x="231668" y="31829"/>
                  </a:cubicBezTo>
                  <a:cubicBezTo>
                    <a:pt x="231668" y="39484"/>
                    <a:pt x="225222" y="45528"/>
                    <a:pt x="217970" y="45528"/>
                  </a:cubicBezTo>
                  <a:close/>
                  <a:moveTo>
                    <a:pt x="264303" y="45528"/>
                  </a:moveTo>
                  <a:cubicBezTo>
                    <a:pt x="256648" y="45528"/>
                    <a:pt x="250605" y="39484"/>
                    <a:pt x="250605" y="31829"/>
                  </a:cubicBezTo>
                  <a:cubicBezTo>
                    <a:pt x="250605" y="24174"/>
                    <a:pt x="256648" y="18131"/>
                    <a:pt x="264303" y="18131"/>
                  </a:cubicBezTo>
                  <a:cubicBezTo>
                    <a:pt x="271959" y="18131"/>
                    <a:pt x="278002" y="24174"/>
                    <a:pt x="278002" y="31829"/>
                  </a:cubicBezTo>
                  <a:cubicBezTo>
                    <a:pt x="278002" y="39484"/>
                    <a:pt x="271959" y="45528"/>
                    <a:pt x="264303" y="45528"/>
                  </a:cubicBezTo>
                  <a:close/>
                  <a:moveTo>
                    <a:pt x="310637" y="45528"/>
                  </a:moveTo>
                  <a:cubicBezTo>
                    <a:pt x="302982" y="45528"/>
                    <a:pt x="296939" y="39484"/>
                    <a:pt x="296939" y="31829"/>
                  </a:cubicBezTo>
                  <a:cubicBezTo>
                    <a:pt x="296939" y="24174"/>
                    <a:pt x="302982" y="18131"/>
                    <a:pt x="310637" y="18131"/>
                  </a:cubicBezTo>
                  <a:cubicBezTo>
                    <a:pt x="318292" y="18131"/>
                    <a:pt x="324336" y="24174"/>
                    <a:pt x="324336" y="31829"/>
                  </a:cubicBezTo>
                  <a:cubicBezTo>
                    <a:pt x="324336" y="39484"/>
                    <a:pt x="318292" y="45528"/>
                    <a:pt x="310637" y="45528"/>
                  </a:cubicBezTo>
                  <a:close/>
                  <a:moveTo>
                    <a:pt x="356971" y="45528"/>
                  </a:moveTo>
                  <a:cubicBezTo>
                    <a:pt x="349316" y="45528"/>
                    <a:pt x="343272" y="39484"/>
                    <a:pt x="343272" y="31829"/>
                  </a:cubicBezTo>
                  <a:cubicBezTo>
                    <a:pt x="343272" y="24174"/>
                    <a:pt x="349316" y="18131"/>
                    <a:pt x="356971" y="18131"/>
                  </a:cubicBezTo>
                  <a:cubicBezTo>
                    <a:pt x="364626" y="18131"/>
                    <a:pt x="370670" y="24174"/>
                    <a:pt x="370670" y="31829"/>
                  </a:cubicBezTo>
                  <a:cubicBezTo>
                    <a:pt x="371072" y="39484"/>
                    <a:pt x="364626" y="45528"/>
                    <a:pt x="356971" y="45528"/>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2" name="Freeform 1430">
              <a:extLst>
                <a:ext uri="{FF2B5EF4-FFF2-40B4-BE49-F238E27FC236}">
                  <a16:creationId xmlns:a16="http://schemas.microsoft.com/office/drawing/2014/main" id="{71ECA018-84B3-E6D9-68CB-864E6A939414}"/>
                </a:ext>
              </a:extLst>
            </p:cNvPr>
            <p:cNvSpPr/>
            <p:nvPr/>
          </p:nvSpPr>
          <p:spPr>
            <a:xfrm>
              <a:off x="8271736" y="4659386"/>
              <a:ext cx="326753" cy="142627"/>
            </a:xfrm>
            <a:custGeom>
              <a:avLst/>
              <a:gdLst>
                <a:gd name="connsiteX0" fmla="*/ 11281 w 326753"/>
                <a:gd name="connsiteY0" fmla="*/ 20145 h 142627"/>
                <a:gd name="connsiteX1" fmla="*/ 80580 w 326753"/>
                <a:gd name="connsiteY1" fmla="*/ 20145 h 142627"/>
                <a:gd name="connsiteX2" fmla="*/ 80580 w 326753"/>
                <a:gd name="connsiteY2" fmla="*/ 62450 h 142627"/>
                <a:gd name="connsiteX3" fmla="*/ 42707 w 326753"/>
                <a:gd name="connsiteY3" fmla="*/ 92667 h 142627"/>
                <a:gd name="connsiteX4" fmla="*/ 39887 w 326753"/>
                <a:gd name="connsiteY4" fmla="*/ 104754 h 142627"/>
                <a:gd name="connsiteX5" fmla="*/ 54392 w 326753"/>
                <a:gd name="connsiteY5" fmla="*/ 136584 h 142627"/>
                <a:gd name="connsiteX6" fmla="*/ 63658 w 326753"/>
                <a:gd name="connsiteY6" fmla="*/ 142627 h 142627"/>
                <a:gd name="connsiteX7" fmla="*/ 67687 w 326753"/>
                <a:gd name="connsiteY7" fmla="*/ 141821 h 142627"/>
                <a:gd name="connsiteX8" fmla="*/ 72522 w 326753"/>
                <a:gd name="connsiteY8" fmla="*/ 128526 h 142627"/>
                <a:gd name="connsiteX9" fmla="*/ 61241 w 326753"/>
                <a:gd name="connsiteY9" fmla="*/ 103546 h 142627"/>
                <a:gd name="connsiteX10" fmla="*/ 90250 w 326753"/>
                <a:gd name="connsiteY10" fmla="*/ 80177 h 142627"/>
                <a:gd name="connsiteX11" fmla="*/ 119662 w 326753"/>
                <a:gd name="connsiteY11" fmla="*/ 103546 h 142627"/>
                <a:gd name="connsiteX12" fmla="*/ 108380 w 326753"/>
                <a:gd name="connsiteY12" fmla="*/ 128526 h 142627"/>
                <a:gd name="connsiteX13" fmla="*/ 113215 w 326753"/>
                <a:gd name="connsiteY13" fmla="*/ 141821 h 142627"/>
                <a:gd name="connsiteX14" fmla="*/ 117244 w 326753"/>
                <a:gd name="connsiteY14" fmla="*/ 142627 h 142627"/>
                <a:gd name="connsiteX15" fmla="*/ 126511 w 326753"/>
                <a:gd name="connsiteY15" fmla="*/ 136584 h 142627"/>
                <a:gd name="connsiteX16" fmla="*/ 141016 w 326753"/>
                <a:gd name="connsiteY16" fmla="*/ 104754 h 142627"/>
                <a:gd name="connsiteX17" fmla="*/ 138195 w 326753"/>
                <a:gd name="connsiteY17" fmla="*/ 92667 h 142627"/>
                <a:gd name="connsiteX18" fmla="*/ 100322 w 326753"/>
                <a:gd name="connsiteY18" fmla="*/ 62450 h 142627"/>
                <a:gd name="connsiteX19" fmla="*/ 100322 w 326753"/>
                <a:gd name="connsiteY19" fmla="*/ 20145 h 142627"/>
                <a:gd name="connsiteX20" fmla="*/ 228042 w 326753"/>
                <a:gd name="connsiteY20" fmla="*/ 20145 h 142627"/>
                <a:gd name="connsiteX21" fmla="*/ 228042 w 326753"/>
                <a:gd name="connsiteY21" fmla="*/ 62450 h 142627"/>
                <a:gd name="connsiteX22" fmla="*/ 190169 w 326753"/>
                <a:gd name="connsiteY22" fmla="*/ 92667 h 142627"/>
                <a:gd name="connsiteX23" fmla="*/ 187349 w 326753"/>
                <a:gd name="connsiteY23" fmla="*/ 104754 h 142627"/>
                <a:gd name="connsiteX24" fmla="*/ 201854 w 326753"/>
                <a:gd name="connsiteY24" fmla="*/ 136584 h 142627"/>
                <a:gd name="connsiteX25" fmla="*/ 211120 w 326753"/>
                <a:gd name="connsiteY25" fmla="*/ 142627 h 142627"/>
                <a:gd name="connsiteX26" fmla="*/ 215149 w 326753"/>
                <a:gd name="connsiteY26" fmla="*/ 141821 h 142627"/>
                <a:gd name="connsiteX27" fmla="*/ 219984 w 326753"/>
                <a:gd name="connsiteY27" fmla="*/ 128526 h 142627"/>
                <a:gd name="connsiteX28" fmla="*/ 208703 w 326753"/>
                <a:gd name="connsiteY28" fmla="*/ 103546 h 142627"/>
                <a:gd name="connsiteX29" fmla="*/ 237712 w 326753"/>
                <a:gd name="connsiteY29" fmla="*/ 80177 h 142627"/>
                <a:gd name="connsiteX30" fmla="*/ 266721 w 326753"/>
                <a:gd name="connsiteY30" fmla="*/ 103546 h 142627"/>
                <a:gd name="connsiteX31" fmla="*/ 255440 w 326753"/>
                <a:gd name="connsiteY31" fmla="*/ 128526 h 142627"/>
                <a:gd name="connsiteX32" fmla="*/ 260274 w 326753"/>
                <a:gd name="connsiteY32" fmla="*/ 141821 h 142627"/>
                <a:gd name="connsiteX33" fmla="*/ 264303 w 326753"/>
                <a:gd name="connsiteY33" fmla="*/ 142627 h 142627"/>
                <a:gd name="connsiteX34" fmla="*/ 273570 w 326753"/>
                <a:gd name="connsiteY34" fmla="*/ 136584 h 142627"/>
                <a:gd name="connsiteX35" fmla="*/ 288075 w 326753"/>
                <a:gd name="connsiteY35" fmla="*/ 104754 h 142627"/>
                <a:gd name="connsiteX36" fmla="*/ 285254 w 326753"/>
                <a:gd name="connsiteY36" fmla="*/ 92667 h 142627"/>
                <a:gd name="connsiteX37" fmla="*/ 247381 w 326753"/>
                <a:gd name="connsiteY37" fmla="*/ 62450 h 142627"/>
                <a:gd name="connsiteX38" fmla="*/ 247381 w 326753"/>
                <a:gd name="connsiteY38" fmla="*/ 20145 h 142627"/>
                <a:gd name="connsiteX39" fmla="*/ 316681 w 326753"/>
                <a:gd name="connsiteY39" fmla="*/ 20145 h 142627"/>
                <a:gd name="connsiteX40" fmla="*/ 326753 w 326753"/>
                <a:gd name="connsiteY40" fmla="*/ 10073 h 142627"/>
                <a:gd name="connsiteX41" fmla="*/ 316681 w 326753"/>
                <a:gd name="connsiteY41" fmla="*/ 0 h 142627"/>
                <a:gd name="connsiteX42" fmla="*/ 10073 w 326753"/>
                <a:gd name="connsiteY42" fmla="*/ 0 h 142627"/>
                <a:gd name="connsiteX43" fmla="*/ 0 w 326753"/>
                <a:gd name="connsiteY43" fmla="*/ 10073 h 142627"/>
                <a:gd name="connsiteX44" fmla="*/ 11281 w 326753"/>
                <a:gd name="connsiteY44" fmla="*/ 20145 h 14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26753" h="142627">
                  <a:moveTo>
                    <a:pt x="11281" y="20145"/>
                  </a:moveTo>
                  <a:lnTo>
                    <a:pt x="80580" y="20145"/>
                  </a:lnTo>
                  <a:lnTo>
                    <a:pt x="80580" y="62450"/>
                  </a:lnTo>
                  <a:lnTo>
                    <a:pt x="42707" y="92667"/>
                  </a:lnTo>
                  <a:cubicBezTo>
                    <a:pt x="39081" y="95488"/>
                    <a:pt x="37873" y="100322"/>
                    <a:pt x="39887" y="104754"/>
                  </a:cubicBezTo>
                  <a:lnTo>
                    <a:pt x="54392" y="136584"/>
                  </a:lnTo>
                  <a:cubicBezTo>
                    <a:pt x="56003" y="140210"/>
                    <a:pt x="59629" y="142627"/>
                    <a:pt x="63658" y="142627"/>
                  </a:cubicBezTo>
                  <a:cubicBezTo>
                    <a:pt x="64867" y="142627"/>
                    <a:pt x="66479" y="142224"/>
                    <a:pt x="67687" y="141821"/>
                  </a:cubicBezTo>
                  <a:cubicBezTo>
                    <a:pt x="72925" y="139404"/>
                    <a:pt x="74940" y="133360"/>
                    <a:pt x="72522" y="128526"/>
                  </a:cubicBezTo>
                  <a:lnTo>
                    <a:pt x="61241" y="103546"/>
                  </a:lnTo>
                  <a:lnTo>
                    <a:pt x="90250" y="80177"/>
                  </a:lnTo>
                  <a:lnTo>
                    <a:pt x="119662" y="103546"/>
                  </a:lnTo>
                  <a:lnTo>
                    <a:pt x="108380" y="128526"/>
                  </a:lnTo>
                  <a:cubicBezTo>
                    <a:pt x="105963" y="133763"/>
                    <a:pt x="108380" y="139404"/>
                    <a:pt x="113215" y="141821"/>
                  </a:cubicBezTo>
                  <a:cubicBezTo>
                    <a:pt x="114424" y="142627"/>
                    <a:pt x="116036" y="142627"/>
                    <a:pt x="117244" y="142627"/>
                  </a:cubicBezTo>
                  <a:cubicBezTo>
                    <a:pt x="121273" y="142627"/>
                    <a:pt x="124900" y="140613"/>
                    <a:pt x="126511" y="136584"/>
                  </a:cubicBezTo>
                  <a:lnTo>
                    <a:pt x="141016" y="104754"/>
                  </a:lnTo>
                  <a:cubicBezTo>
                    <a:pt x="143030" y="100725"/>
                    <a:pt x="141821" y="95488"/>
                    <a:pt x="138195" y="92667"/>
                  </a:cubicBezTo>
                  <a:lnTo>
                    <a:pt x="100322" y="62450"/>
                  </a:lnTo>
                  <a:lnTo>
                    <a:pt x="100322" y="20145"/>
                  </a:lnTo>
                  <a:lnTo>
                    <a:pt x="228042" y="20145"/>
                  </a:lnTo>
                  <a:lnTo>
                    <a:pt x="228042" y="62450"/>
                  </a:lnTo>
                  <a:lnTo>
                    <a:pt x="190169" y="92667"/>
                  </a:lnTo>
                  <a:cubicBezTo>
                    <a:pt x="186543" y="95488"/>
                    <a:pt x="185335" y="100322"/>
                    <a:pt x="187349" y="104754"/>
                  </a:cubicBezTo>
                  <a:lnTo>
                    <a:pt x="201854" y="136584"/>
                  </a:lnTo>
                  <a:cubicBezTo>
                    <a:pt x="203465" y="140210"/>
                    <a:pt x="207091" y="142627"/>
                    <a:pt x="211120" y="142627"/>
                  </a:cubicBezTo>
                  <a:cubicBezTo>
                    <a:pt x="212329" y="142627"/>
                    <a:pt x="213941" y="142224"/>
                    <a:pt x="215149" y="141821"/>
                  </a:cubicBezTo>
                  <a:cubicBezTo>
                    <a:pt x="220387" y="139404"/>
                    <a:pt x="222402" y="133360"/>
                    <a:pt x="219984" y="128526"/>
                  </a:cubicBezTo>
                  <a:lnTo>
                    <a:pt x="208703" y="103546"/>
                  </a:lnTo>
                  <a:lnTo>
                    <a:pt x="237712" y="80177"/>
                  </a:lnTo>
                  <a:lnTo>
                    <a:pt x="266721" y="103546"/>
                  </a:lnTo>
                  <a:lnTo>
                    <a:pt x="255440" y="128526"/>
                  </a:lnTo>
                  <a:cubicBezTo>
                    <a:pt x="253022" y="133763"/>
                    <a:pt x="255440" y="139404"/>
                    <a:pt x="260274" y="141821"/>
                  </a:cubicBezTo>
                  <a:cubicBezTo>
                    <a:pt x="261483" y="142627"/>
                    <a:pt x="263095" y="142627"/>
                    <a:pt x="264303" y="142627"/>
                  </a:cubicBezTo>
                  <a:cubicBezTo>
                    <a:pt x="268332" y="142627"/>
                    <a:pt x="271959" y="140613"/>
                    <a:pt x="273570" y="136584"/>
                  </a:cubicBezTo>
                  <a:lnTo>
                    <a:pt x="288075" y="104754"/>
                  </a:lnTo>
                  <a:cubicBezTo>
                    <a:pt x="290089" y="100725"/>
                    <a:pt x="288880" y="95488"/>
                    <a:pt x="285254" y="92667"/>
                  </a:cubicBezTo>
                  <a:lnTo>
                    <a:pt x="247381" y="62450"/>
                  </a:lnTo>
                  <a:lnTo>
                    <a:pt x="247381" y="20145"/>
                  </a:lnTo>
                  <a:lnTo>
                    <a:pt x="316681" y="20145"/>
                  </a:lnTo>
                  <a:cubicBezTo>
                    <a:pt x="322321" y="20145"/>
                    <a:pt x="326753" y="15713"/>
                    <a:pt x="326753" y="10073"/>
                  </a:cubicBezTo>
                  <a:cubicBezTo>
                    <a:pt x="326753" y="4432"/>
                    <a:pt x="322321" y="0"/>
                    <a:pt x="316681" y="0"/>
                  </a:cubicBezTo>
                  <a:lnTo>
                    <a:pt x="10073" y="0"/>
                  </a:lnTo>
                  <a:cubicBezTo>
                    <a:pt x="4432" y="0"/>
                    <a:pt x="0" y="4432"/>
                    <a:pt x="0" y="10073"/>
                  </a:cubicBezTo>
                  <a:cubicBezTo>
                    <a:pt x="1209" y="15713"/>
                    <a:pt x="6044" y="20145"/>
                    <a:pt x="11281" y="20145"/>
                  </a:cubicBezTo>
                  <a:close/>
                </a:path>
              </a:pathLst>
            </a:custGeom>
            <a:grp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47" name="Freeform 1462">
            <a:extLst>
              <a:ext uri="{FF2B5EF4-FFF2-40B4-BE49-F238E27FC236}">
                <a16:creationId xmlns:a16="http://schemas.microsoft.com/office/drawing/2014/main" id="{6E38DCA2-F7EA-52AB-9C37-656FC2B8E765}"/>
              </a:ext>
            </a:extLst>
          </p:cNvPr>
          <p:cNvSpPr/>
          <p:nvPr/>
        </p:nvSpPr>
        <p:spPr>
          <a:xfrm>
            <a:off x="8084102" y="2891660"/>
            <a:ext cx="460742" cy="452886"/>
          </a:xfrm>
          <a:custGeom>
            <a:avLst/>
            <a:gdLst>
              <a:gd name="connsiteX0" fmla="*/ 291298 w 300187"/>
              <a:gd name="connsiteY0" fmla="*/ 140613 h 300564"/>
              <a:gd name="connsiteX1" fmla="*/ 183320 w 300187"/>
              <a:gd name="connsiteY1" fmla="*/ 140613 h 300564"/>
              <a:gd name="connsiteX2" fmla="*/ 255037 w 300187"/>
              <a:gd name="connsiteY2" fmla="*/ 131346 h 300564"/>
              <a:gd name="connsiteX3" fmla="*/ 281628 w 300187"/>
              <a:gd name="connsiteY3" fmla="*/ 81386 h 300564"/>
              <a:gd name="connsiteX4" fmla="*/ 280823 w 300187"/>
              <a:gd name="connsiteY4" fmla="*/ 74537 h 300564"/>
              <a:gd name="connsiteX5" fmla="*/ 267930 w 300187"/>
              <a:gd name="connsiteY5" fmla="*/ 71314 h 300564"/>
              <a:gd name="connsiteX6" fmla="*/ 174456 w 300187"/>
              <a:gd name="connsiteY6" fmla="*/ 125302 h 300564"/>
              <a:gd name="connsiteX7" fmla="*/ 232071 w 300187"/>
              <a:gd name="connsiteY7" fmla="*/ 81386 h 300564"/>
              <a:gd name="connsiteX8" fmla="*/ 230057 w 300187"/>
              <a:gd name="connsiteY8" fmla="*/ 24577 h 300564"/>
              <a:gd name="connsiteX9" fmla="*/ 225625 w 300187"/>
              <a:gd name="connsiteY9" fmla="*/ 19339 h 300564"/>
              <a:gd name="connsiteX10" fmla="*/ 212732 w 300187"/>
              <a:gd name="connsiteY10" fmla="*/ 22965 h 300564"/>
              <a:gd name="connsiteX11" fmla="*/ 158743 w 300187"/>
              <a:gd name="connsiteY11" fmla="*/ 116841 h 300564"/>
              <a:gd name="connsiteX12" fmla="*/ 186543 w 300187"/>
              <a:gd name="connsiteY12" fmla="*/ 50363 h 300564"/>
              <a:gd name="connsiteX13" fmla="*/ 156326 w 300187"/>
              <a:gd name="connsiteY13" fmla="*/ 2417 h 300564"/>
              <a:gd name="connsiteX14" fmla="*/ 149879 w 300187"/>
              <a:gd name="connsiteY14" fmla="*/ 0 h 300564"/>
              <a:gd name="connsiteX15" fmla="*/ 140613 w 300187"/>
              <a:gd name="connsiteY15" fmla="*/ 9267 h 300564"/>
              <a:gd name="connsiteX16" fmla="*/ 140613 w 300187"/>
              <a:gd name="connsiteY16" fmla="*/ 117244 h 300564"/>
              <a:gd name="connsiteX17" fmla="*/ 131346 w 300187"/>
              <a:gd name="connsiteY17" fmla="*/ 45528 h 300564"/>
              <a:gd name="connsiteX18" fmla="*/ 81386 w 300187"/>
              <a:gd name="connsiteY18" fmla="*/ 18936 h 300564"/>
              <a:gd name="connsiteX19" fmla="*/ 74537 w 300187"/>
              <a:gd name="connsiteY19" fmla="*/ 19742 h 300564"/>
              <a:gd name="connsiteX20" fmla="*/ 71314 w 300187"/>
              <a:gd name="connsiteY20" fmla="*/ 32635 h 300564"/>
              <a:gd name="connsiteX21" fmla="*/ 125302 w 300187"/>
              <a:gd name="connsiteY21" fmla="*/ 126108 h 300564"/>
              <a:gd name="connsiteX22" fmla="*/ 81386 w 300187"/>
              <a:gd name="connsiteY22" fmla="*/ 68493 h 300564"/>
              <a:gd name="connsiteX23" fmla="*/ 24577 w 300187"/>
              <a:gd name="connsiteY23" fmla="*/ 70508 h 300564"/>
              <a:gd name="connsiteX24" fmla="*/ 19339 w 300187"/>
              <a:gd name="connsiteY24" fmla="*/ 74940 h 300564"/>
              <a:gd name="connsiteX25" fmla="*/ 22965 w 300187"/>
              <a:gd name="connsiteY25" fmla="*/ 87833 h 300564"/>
              <a:gd name="connsiteX26" fmla="*/ 116841 w 300187"/>
              <a:gd name="connsiteY26" fmla="*/ 141821 h 300564"/>
              <a:gd name="connsiteX27" fmla="*/ 50363 w 300187"/>
              <a:gd name="connsiteY27" fmla="*/ 114021 h 300564"/>
              <a:gd name="connsiteX28" fmla="*/ 2417 w 300187"/>
              <a:gd name="connsiteY28" fmla="*/ 144239 h 300564"/>
              <a:gd name="connsiteX29" fmla="*/ 0 w 300187"/>
              <a:gd name="connsiteY29" fmla="*/ 150685 h 300564"/>
              <a:gd name="connsiteX30" fmla="*/ 9267 w 300187"/>
              <a:gd name="connsiteY30" fmla="*/ 159952 h 300564"/>
              <a:gd name="connsiteX31" fmla="*/ 117244 w 300187"/>
              <a:gd name="connsiteY31" fmla="*/ 159952 h 300564"/>
              <a:gd name="connsiteX32" fmla="*/ 45528 w 300187"/>
              <a:gd name="connsiteY32" fmla="*/ 169219 h 300564"/>
              <a:gd name="connsiteX33" fmla="*/ 18936 w 300187"/>
              <a:gd name="connsiteY33" fmla="*/ 219178 h 300564"/>
              <a:gd name="connsiteX34" fmla="*/ 19742 w 300187"/>
              <a:gd name="connsiteY34" fmla="*/ 226028 h 300564"/>
              <a:gd name="connsiteX35" fmla="*/ 32635 w 300187"/>
              <a:gd name="connsiteY35" fmla="*/ 229251 h 300564"/>
              <a:gd name="connsiteX36" fmla="*/ 126108 w 300187"/>
              <a:gd name="connsiteY36" fmla="*/ 175262 h 300564"/>
              <a:gd name="connsiteX37" fmla="*/ 68493 w 300187"/>
              <a:gd name="connsiteY37" fmla="*/ 219178 h 300564"/>
              <a:gd name="connsiteX38" fmla="*/ 70508 w 300187"/>
              <a:gd name="connsiteY38" fmla="*/ 275988 h 300564"/>
              <a:gd name="connsiteX39" fmla="*/ 74940 w 300187"/>
              <a:gd name="connsiteY39" fmla="*/ 281225 h 300564"/>
              <a:gd name="connsiteX40" fmla="*/ 87833 w 300187"/>
              <a:gd name="connsiteY40" fmla="*/ 277599 h 300564"/>
              <a:gd name="connsiteX41" fmla="*/ 141821 w 300187"/>
              <a:gd name="connsiteY41" fmla="*/ 183723 h 300564"/>
              <a:gd name="connsiteX42" fmla="*/ 114021 w 300187"/>
              <a:gd name="connsiteY42" fmla="*/ 250202 h 300564"/>
              <a:gd name="connsiteX43" fmla="*/ 144239 w 300187"/>
              <a:gd name="connsiteY43" fmla="*/ 298147 h 300564"/>
              <a:gd name="connsiteX44" fmla="*/ 150685 w 300187"/>
              <a:gd name="connsiteY44" fmla="*/ 300565 h 300564"/>
              <a:gd name="connsiteX45" fmla="*/ 159952 w 300187"/>
              <a:gd name="connsiteY45" fmla="*/ 291298 h 300564"/>
              <a:gd name="connsiteX46" fmla="*/ 159952 w 300187"/>
              <a:gd name="connsiteY46" fmla="*/ 183320 h 300564"/>
              <a:gd name="connsiteX47" fmla="*/ 169219 w 300187"/>
              <a:gd name="connsiteY47" fmla="*/ 255037 h 300564"/>
              <a:gd name="connsiteX48" fmla="*/ 219178 w 300187"/>
              <a:gd name="connsiteY48" fmla="*/ 281628 h 300564"/>
              <a:gd name="connsiteX49" fmla="*/ 226028 w 300187"/>
              <a:gd name="connsiteY49" fmla="*/ 280823 h 300564"/>
              <a:gd name="connsiteX50" fmla="*/ 229251 w 300187"/>
              <a:gd name="connsiteY50" fmla="*/ 267930 h 300564"/>
              <a:gd name="connsiteX51" fmla="*/ 175262 w 300187"/>
              <a:gd name="connsiteY51" fmla="*/ 174456 h 300564"/>
              <a:gd name="connsiteX52" fmla="*/ 219178 w 300187"/>
              <a:gd name="connsiteY52" fmla="*/ 232071 h 300564"/>
              <a:gd name="connsiteX53" fmla="*/ 275988 w 300187"/>
              <a:gd name="connsiteY53" fmla="*/ 230057 h 300564"/>
              <a:gd name="connsiteX54" fmla="*/ 281225 w 300187"/>
              <a:gd name="connsiteY54" fmla="*/ 225625 h 300564"/>
              <a:gd name="connsiteX55" fmla="*/ 277599 w 300187"/>
              <a:gd name="connsiteY55" fmla="*/ 212732 h 300564"/>
              <a:gd name="connsiteX56" fmla="*/ 183320 w 300187"/>
              <a:gd name="connsiteY56" fmla="*/ 158743 h 300564"/>
              <a:gd name="connsiteX57" fmla="*/ 249799 w 300187"/>
              <a:gd name="connsiteY57" fmla="*/ 186543 h 300564"/>
              <a:gd name="connsiteX58" fmla="*/ 297744 w 300187"/>
              <a:gd name="connsiteY58" fmla="*/ 156326 h 300564"/>
              <a:gd name="connsiteX59" fmla="*/ 300162 w 300187"/>
              <a:gd name="connsiteY59" fmla="*/ 149879 h 300564"/>
              <a:gd name="connsiteX60" fmla="*/ 291298 w 300187"/>
              <a:gd name="connsiteY60" fmla="*/ 140613 h 300564"/>
              <a:gd name="connsiteX61" fmla="*/ 149879 w 300187"/>
              <a:gd name="connsiteY61" fmla="*/ 172845 h 300564"/>
              <a:gd name="connsiteX62" fmla="*/ 127317 w 300187"/>
              <a:gd name="connsiteY62" fmla="*/ 150282 h 300564"/>
              <a:gd name="connsiteX63" fmla="*/ 149879 w 300187"/>
              <a:gd name="connsiteY63" fmla="*/ 127720 h 300564"/>
              <a:gd name="connsiteX64" fmla="*/ 172442 w 300187"/>
              <a:gd name="connsiteY64" fmla="*/ 150282 h 300564"/>
              <a:gd name="connsiteX65" fmla="*/ 149879 w 300187"/>
              <a:gd name="connsiteY65" fmla="*/ 172845 h 30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187" h="300564">
                <a:moveTo>
                  <a:pt x="291298" y="140613"/>
                </a:moveTo>
                <a:lnTo>
                  <a:pt x="183320" y="140613"/>
                </a:lnTo>
                <a:lnTo>
                  <a:pt x="255037" y="131346"/>
                </a:lnTo>
                <a:cubicBezTo>
                  <a:pt x="269138" y="121273"/>
                  <a:pt x="278405" y="105963"/>
                  <a:pt x="281628" y="81386"/>
                </a:cubicBezTo>
                <a:cubicBezTo>
                  <a:pt x="282031" y="78969"/>
                  <a:pt x="282031" y="76551"/>
                  <a:pt x="280823" y="74537"/>
                </a:cubicBezTo>
                <a:cubicBezTo>
                  <a:pt x="278405" y="70105"/>
                  <a:pt x="272362" y="68493"/>
                  <a:pt x="267930" y="71314"/>
                </a:cubicBezTo>
                <a:lnTo>
                  <a:pt x="174456" y="125302"/>
                </a:lnTo>
                <a:lnTo>
                  <a:pt x="232071" y="81386"/>
                </a:lnTo>
                <a:cubicBezTo>
                  <a:pt x="239324" y="65673"/>
                  <a:pt x="239726" y="47945"/>
                  <a:pt x="230057" y="24577"/>
                </a:cubicBezTo>
                <a:cubicBezTo>
                  <a:pt x="229251" y="22562"/>
                  <a:pt x="228042" y="20548"/>
                  <a:pt x="225625" y="19339"/>
                </a:cubicBezTo>
                <a:cubicBezTo>
                  <a:pt x="221193" y="16922"/>
                  <a:pt x="215552" y="18131"/>
                  <a:pt x="212732" y="22965"/>
                </a:cubicBezTo>
                <a:lnTo>
                  <a:pt x="158743" y="116841"/>
                </a:lnTo>
                <a:lnTo>
                  <a:pt x="186543" y="50363"/>
                </a:lnTo>
                <a:cubicBezTo>
                  <a:pt x="184932" y="33441"/>
                  <a:pt x="176471" y="17728"/>
                  <a:pt x="156326" y="2417"/>
                </a:cubicBezTo>
                <a:cubicBezTo>
                  <a:pt x="154714" y="806"/>
                  <a:pt x="152297" y="0"/>
                  <a:pt x="149879" y="0"/>
                </a:cubicBezTo>
                <a:cubicBezTo>
                  <a:pt x="144642" y="0"/>
                  <a:pt x="140613" y="4029"/>
                  <a:pt x="140613" y="9267"/>
                </a:cubicBezTo>
                <a:lnTo>
                  <a:pt x="140613" y="117244"/>
                </a:lnTo>
                <a:lnTo>
                  <a:pt x="131346" y="45528"/>
                </a:lnTo>
                <a:cubicBezTo>
                  <a:pt x="121273" y="31426"/>
                  <a:pt x="105963" y="22160"/>
                  <a:pt x="81386" y="18936"/>
                </a:cubicBezTo>
                <a:cubicBezTo>
                  <a:pt x="78969" y="18533"/>
                  <a:pt x="76551" y="18533"/>
                  <a:pt x="74537" y="19742"/>
                </a:cubicBezTo>
                <a:cubicBezTo>
                  <a:pt x="70105" y="22160"/>
                  <a:pt x="68493" y="28203"/>
                  <a:pt x="71314" y="32635"/>
                </a:cubicBezTo>
                <a:lnTo>
                  <a:pt x="125302" y="126108"/>
                </a:lnTo>
                <a:lnTo>
                  <a:pt x="81386" y="68493"/>
                </a:lnTo>
                <a:cubicBezTo>
                  <a:pt x="65673" y="61241"/>
                  <a:pt x="47945" y="60838"/>
                  <a:pt x="24577" y="70508"/>
                </a:cubicBezTo>
                <a:cubicBezTo>
                  <a:pt x="22563" y="71314"/>
                  <a:pt x="20548" y="72522"/>
                  <a:pt x="19339" y="74940"/>
                </a:cubicBezTo>
                <a:cubicBezTo>
                  <a:pt x="16922" y="79372"/>
                  <a:pt x="18131" y="85012"/>
                  <a:pt x="22965" y="87833"/>
                </a:cubicBezTo>
                <a:lnTo>
                  <a:pt x="116841" y="141821"/>
                </a:lnTo>
                <a:lnTo>
                  <a:pt x="50363" y="114021"/>
                </a:lnTo>
                <a:cubicBezTo>
                  <a:pt x="33441" y="115633"/>
                  <a:pt x="17728" y="124094"/>
                  <a:pt x="2417" y="144239"/>
                </a:cubicBezTo>
                <a:cubicBezTo>
                  <a:pt x="806" y="145850"/>
                  <a:pt x="0" y="148268"/>
                  <a:pt x="0" y="150685"/>
                </a:cubicBezTo>
                <a:cubicBezTo>
                  <a:pt x="0" y="155923"/>
                  <a:pt x="4029" y="159952"/>
                  <a:pt x="9267" y="159952"/>
                </a:cubicBezTo>
                <a:lnTo>
                  <a:pt x="117244" y="159952"/>
                </a:lnTo>
                <a:lnTo>
                  <a:pt x="45528" y="169219"/>
                </a:lnTo>
                <a:cubicBezTo>
                  <a:pt x="31426" y="179291"/>
                  <a:pt x="22160" y="194601"/>
                  <a:pt x="18936" y="219178"/>
                </a:cubicBezTo>
                <a:cubicBezTo>
                  <a:pt x="18534" y="221596"/>
                  <a:pt x="18534" y="224013"/>
                  <a:pt x="19742" y="226028"/>
                </a:cubicBezTo>
                <a:cubicBezTo>
                  <a:pt x="22160" y="230460"/>
                  <a:pt x="28203" y="232071"/>
                  <a:pt x="32635" y="229251"/>
                </a:cubicBezTo>
                <a:lnTo>
                  <a:pt x="126108" y="175262"/>
                </a:lnTo>
                <a:lnTo>
                  <a:pt x="68493" y="219178"/>
                </a:lnTo>
                <a:cubicBezTo>
                  <a:pt x="61241" y="234892"/>
                  <a:pt x="60838" y="252619"/>
                  <a:pt x="70508" y="275988"/>
                </a:cubicBezTo>
                <a:cubicBezTo>
                  <a:pt x="71314" y="278002"/>
                  <a:pt x="72522" y="280017"/>
                  <a:pt x="74940" y="281225"/>
                </a:cubicBezTo>
                <a:cubicBezTo>
                  <a:pt x="79372" y="283643"/>
                  <a:pt x="85012" y="282434"/>
                  <a:pt x="87833" y="277599"/>
                </a:cubicBezTo>
                <a:lnTo>
                  <a:pt x="141821" y="183723"/>
                </a:lnTo>
                <a:lnTo>
                  <a:pt x="114021" y="250202"/>
                </a:lnTo>
                <a:cubicBezTo>
                  <a:pt x="115633" y="267124"/>
                  <a:pt x="124094" y="282837"/>
                  <a:pt x="144239" y="298147"/>
                </a:cubicBezTo>
                <a:cubicBezTo>
                  <a:pt x="145850" y="299759"/>
                  <a:pt x="148268" y="300565"/>
                  <a:pt x="150685" y="300565"/>
                </a:cubicBezTo>
                <a:cubicBezTo>
                  <a:pt x="155923" y="300565"/>
                  <a:pt x="159952" y="296536"/>
                  <a:pt x="159952" y="291298"/>
                </a:cubicBezTo>
                <a:lnTo>
                  <a:pt x="159952" y="183320"/>
                </a:lnTo>
                <a:lnTo>
                  <a:pt x="169219" y="255037"/>
                </a:lnTo>
                <a:cubicBezTo>
                  <a:pt x="179291" y="269138"/>
                  <a:pt x="194601" y="278405"/>
                  <a:pt x="219178" y="281628"/>
                </a:cubicBezTo>
                <a:cubicBezTo>
                  <a:pt x="221596" y="282031"/>
                  <a:pt x="224013" y="282031"/>
                  <a:pt x="226028" y="280823"/>
                </a:cubicBezTo>
                <a:cubicBezTo>
                  <a:pt x="230460" y="278405"/>
                  <a:pt x="232071" y="272361"/>
                  <a:pt x="229251" y="267930"/>
                </a:cubicBezTo>
                <a:lnTo>
                  <a:pt x="175262" y="174456"/>
                </a:lnTo>
                <a:lnTo>
                  <a:pt x="219178" y="232071"/>
                </a:lnTo>
                <a:cubicBezTo>
                  <a:pt x="234892" y="239323"/>
                  <a:pt x="252619" y="239726"/>
                  <a:pt x="275988" y="230057"/>
                </a:cubicBezTo>
                <a:cubicBezTo>
                  <a:pt x="278002" y="229251"/>
                  <a:pt x="280017" y="228042"/>
                  <a:pt x="281225" y="225625"/>
                </a:cubicBezTo>
                <a:cubicBezTo>
                  <a:pt x="283643" y="221193"/>
                  <a:pt x="282434" y="215552"/>
                  <a:pt x="277599" y="212732"/>
                </a:cubicBezTo>
                <a:lnTo>
                  <a:pt x="183320" y="158743"/>
                </a:lnTo>
                <a:lnTo>
                  <a:pt x="249799" y="186543"/>
                </a:lnTo>
                <a:cubicBezTo>
                  <a:pt x="266721" y="184932"/>
                  <a:pt x="282434" y="176471"/>
                  <a:pt x="297744" y="156326"/>
                </a:cubicBezTo>
                <a:cubicBezTo>
                  <a:pt x="299356" y="154714"/>
                  <a:pt x="300162" y="152297"/>
                  <a:pt x="300162" y="149879"/>
                </a:cubicBezTo>
                <a:cubicBezTo>
                  <a:pt x="300565" y="145045"/>
                  <a:pt x="296133" y="140613"/>
                  <a:pt x="291298" y="140613"/>
                </a:cubicBezTo>
                <a:close/>
                <a:moveTo>
                  <a:pt x="149879" y="172845"/>
                </a:moveTo>
                <a:cubicBezTo>
                  <a:pt x="137390" y="172845"/>
                  <a:pt x="127317" y="162772"/>
                  <a:pt x="127317" y="150282"/>
                </a:cubicBezTo>
                <a:cubicBezTo>
                  <a:pt x="127317" y="137792"/>
                  <a:pt x="137390" y="127720"/>
                  <a:pt x="149879" y="127720"/>
                </a:cubicBezTo>
                <a:cubicBezTo>
                  <a:pt x="162369" y="127720"/>
                  <a:pt x="172442" y="137792"/>
                  <a:pt x="172442" y="150282"/>
                </a:cubicBezTo>
                <a:cubicBezTo>
                  <a:pt x="172442" y="162772"/>
                  <a:pt x="162369" y="172845"/>
                  <a:pt x="149879" y="172845"/>
                </a:cubicBezTo>
                <a:close/>
              </a:path>
            </a:pathLst>
          </a:custGeom>
          <a:solidFill>
            <a:schemeClr val="tx2"/>
          </a:solidFill>
          <a:ln w="4028"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3837577858"/>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map of the united states&#10;&#10;Description automatically generated">
            <a:extLst>
              <a:ext uri="{FF2B5EF4-FFF2-40B4-BE49-F238E27FC236}">
                <a16:creationId xmlns:a16="http://schemas.microsoft.com/office/drawing/2014/main" id="{7806D7B6-FD90-86BC-0C35-5E0043EF3ECC}"/>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50730" y="1123283"/>
            <a:ext cx="9287271" cy="5224354"/>
          </a:xfrm>
        </p:spPr>
      </p:pic>
      <p:sp>
        <p:nvSpPr>
          <p:cNvPr id="3" name="Title 2">
            <a:extLst>
              <a:ext uri="{FF2B5EF4-FFF2-40B4-BE49-F238E27FC236}">
                <a16:creationId xmlns:a16="http://schemas.microsoft.com/office/drawing/2014/main" id="{C0D97C93-77A9-4C2B-CA68-DC2D59DB65A4}"/>
              </a:ext>
            </a:extLst>
          </p:cNvPr>
          <p:cNvSpPr>
            <a:spLocks noGrp="1"/>
          </p:cNvSpPr>
          <p:nvPr>
            <p:ph type="title"/>
          </p:nvPr>
        </p:nvSpPr>
        <p:spPr/>
        <p:txBody>
          <a:bodyPr wrap="square" anchor="t">
            <a:normAutofit/>
          </a:bodyPr>
          <a:lstStyle/>
          <a:p>
            <a:r>
              <a:rPr lang="en-US" sz="2800" dirty="0"/>
              <a:t>IRA 50143: Domestic Conversion Grants Program – Direct Investments</a:t>
            </a:r>
          </a:p>
        </p:txBody>
      </p:sp>
      <p:sp>
        <p:nvSpPr>
          <p:cNvPr id="11" name="TextBox 10">
            <a:extLst>
              <a:ext uri="{FF2B5EF4-FFF2-40B4-BE49-F238E27FC236}">
                <a16:creationId xmlns:a16="http://schemas.microsoft.com/office/drawing/2014/main" id="{A345DBB6-43E7-EED7-4E43-8C80A60C311B}"/>
              </a:ext>
            </a:extLst>
          </p:cNvPr>
          <p:cNvSpPr txBox="1"/>
          <p:nvPr/>
        </p:nvSpPr>
        <p:spPr>
          <a:xfrm>
            <a:off x="253999" y="1364290"/>
            <a:ext cx="3580760" cy="4370427"/>
          </a:xfrm>
          <a:prstGeom prst="rect">
            <a:avLst/>
          </a:prstGeom>
          <a:noFill/>
        </p:spPr>
        <p:txBody>
          <a:bodyPr wrap="square" rtlCol="0">
            <a:spAutoFit/>
          </a:bodyPr>
          <a:lstStyle/>
          <a:p>
            <a:pPr marL="285750" indent="-285750">
              <a:buFont typeface="Arial" panose="020B0604020202020204" pitchFamily="34" charset="0"/>
              <a:buChar char="•"/>
            </a:pPr>
            <a:r>
              <a:rPr lang="en-US" sz="2000" b="1" dirty="0">
                <a:solidFill>
                  <a:schemeClr val="accent2"/>
                </a:solidFill>
              </a:rPr>
              <a:t>$1.7 billion </a:t>
            </a:r>
            <a:r>
              <a:rPr lang="en-US" sz="2000" dirty="0"/>
              <a:t>in grant funding to convert 11 at-risk or shuttered ICE facilities to EV production</a:t>
            </a:r>
          </a:p>
          <a:p>
            <a:pPr marL="285750" indent="-285750">
              <a:buFont typeface="Arial" panose="020B0604020202020204" pitchFamily="34" charset="0"/>
              <a:buChar char="•"/>
            </a:pPr>
            <a:r>
              <a:rPr lang="en-US" sz="2000" dirty="0"/>
              <a:t>50% cost share with grantees</a:t>
            </a:r>
          </a:p>
          <a:p>
            <a:pPr marL="285750" indent="-285750">
              <a:buFont typeface="Arial" panose="020B0604020202020204" pitchFamily="34" charset="0"/>
              <a:buChar char="•"/>
            </a:pPr>
            <a:r>
              <a:rPr lang="en-US" sz="2000" b="1" dirty="0">
                <a:solidFill>
                  <a:schemeClr val="accent2"/>
                </a:solidFill>
              </a:rPr>
              <a:t>$4.9 billion </a:t>
            </a:r>
            <a:r>
              <a:rPr lang="en-US" sz="2000" dirty="0"/>
              <a:t>in total economic value </a:t>
            </a:r>
          </a:p>
          <a:p>
            <a:pPr marL="285750" indent="-285750">
              <a:buFont typeface="Arial" panose="020B0604020202020204" pitchFamily="34" charset="0"/>
              <a:buChar char="•"/>
            </a:pPr>
            <a:r>
              <a:rPr lang="en-US" sz="2000" dirty="0"/>
              <a:t>Over </a:t>
            </a:r>
            <a:r>
              <a:rPr lang="en-US" sz="2000" b="1" dirty="0">
                <a:solidFill>
                  <a:schemeClr val="accent2"/>
                </a:solidFill>
              </a:rPr>
              <a:t>3,700 jobs </a:t>
            </a:r>
            <a:r>
              <a:rPr lang="en-US" sz="2000" dirty="0"/>
              <a:t>created</a:t>
            </a:r>
            <a:r>
              <a:rPr lang="en-US" sz="2000" b="1" dirty="0">
                <a:solidFill>
                  <a:schemeClr val="accent2"/>
                </a:solidFill>
              </a:rPr>
              <a:t> </a:t>
            </a:r>
          </a:p>
          <a:p>
            <a:pPr marL="285750" indent="-285750">
              <a:buFont typeface="Arial" panose="020B0604020202020204" pitchFamily="34" charset="0"/>
              <a:buChar char="•"/>
            </a:pPr>
            <a:r>
              <a:rPr lang="en-US" sz="2000" b="1" dirty="0">
                <a:solidFill>
                  <a:schemeClr val="accent2"/>
                </a:solidFill>
              </a:rPr>
              <a:t>15,000 jobs </a:t>
            </a:r>
            <a:r>
              <a:rPr lang="en-US" sz="2000" dirty="0"/>
              <a:t>retained </a:t>
            </a:r>
          </a:p>
          <a:p>
            <a:pPr marL="285750" indent="-285750">
              <a:buFont typeface="Arial" panose="020B0604020202020204" pitchFamily="34" charset="0"/>
              <a:buChar char="•"/>
            </a:pPr>
            <a:r>
              <a:rPr lang="en-US" sz="2000" dirty="0"/>
              <a:t>Production anticipated to start Q2 2026 with full conversions by Q4 2028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938734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oqpICeBQw6BmtHSOwxB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hwK7M64qvDbJLGpZ.gO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iDCrlMHZ2Ol.TOBbG3Z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4fKVUbq0EmAHwH8IpuG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EjyYgoedNqzmkOMvF7S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kIPhi7y2NaaMC4bxnaW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zxX10pWY4tCdKgs5fDt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JlZTei.tvBl4xMlD_FC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OmqgYfRJXEqpPBC801f_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r_r3KznAuXlOEFKlxJC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csq6ug4dKeJKojU3nZj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lCDZ.59EINePnAeqpV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JMS5iOeNEbbkFX.nfRa8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v5zZpDc_ydwLRZcCej5QA"/>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mfhAl3o76TgRmYkg8_8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VADkzbgUT0UmO2wFwX3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3MfJ0xzrkIPMglfVz.X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u41PLpcPz1X4_J.7vzt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0M2tjTBpCri46iWLMDN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cPw3MxmZ_zkumbAfNud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d5kWc0Te_D64mqZO7Gm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NSsNQAXRVKm5f.mnl01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1NETFk3bPOayqjv59b63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WxBWfY6vHzbVwD6K4tOqQ"/>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U9_BXWxUa8sRh4QszZw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i9nO9q7AJjqaE4mJq1v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PypXhAj6633HlfkcOoR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lustvYYSFiCrpZEXK83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eOinWbqWcCB_AxQYIJ92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wk6GJBkw7RA1fWBxbrw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54j552AanukfeaKD6nW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T59NrRisNjQU5r3dEVq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3qXWRrSagenKBdqG7uW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DAihe82moHftvm0gOB74g"/>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aJlaUP4_z0xyubvm.aW1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pft76NtfFKHnZqKxeb6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iisVjbyP4ObonV3nqVd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oKJqOQ51pKrBuq2yjMeH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6P6hRTiRykDkH0yfBUH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QCBL_KhlrcBo6bD_cooV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PiUM1IkESO4PG5KWz4E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c2yD.bBc.rctRqNiBFt2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k20cplC8_AwswKpynvC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10xzoyAEb1uGbuFjbnVtQ"/>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oqpICeBQw6BmtHSOwxBEA"/>
</p:tagLst>
</file>

<file path=ppt/tags/tag6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U8YYqUziePFXOLiZ2BdWQ"/>
</p:tagLst>
</file>

<file path=ppt/theme/theme1.xml><?xml version="1.0" encoding="utf-8"?>
<a:theme xmlns:a="http://schemas.openxmlformats.org/drawingml/2006/main" name="MESC PPT">
  <a:themeElements>
    <a:clrScheme name="DOE-MESC THEME 2024">
      <a:dk1>
        <a:srgbClr val="000000"/>
      </a:dk1>
      <a:lt1>
        <a:srgbClr val="FFFFFF"/>
      </a:lt1>
      <a:dk2>
        <a:srgbClr val="020078"/>
      </a:dk2>
      <a:lt2>
        <a:srgbClr val="F1FAFA"/>
      </a:lt2>
      <a:accent1>
        <a:srgbClr val="09599B"/>
      </a:accent1>
      <a:accent2>
        <a:srgbClr val="0371FE"/>
      </a:accent2>
      <a:accent3>
        <a:srgbClr val="FEB000"/>
      </a:accent3>
      <a:accent4>
        <a:srgbClr val="2FBF2B"/>
      </a:accent4>
      <a:accent5>
        <a:srgbClr val="92F2FF"/>
      </a:accent5>
      <a:accent6>
        <a:srgbClr val="C4CCD2"/>
      </a:accent6>
      <a:hlink>
        <a:srgbClr val="0016FC"/>
      </a:hlink>
      <a:folHlink>
        <a:srgbClr val="AD01D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ESC TEMPLATE 2024.03.06" id="{1AE55FCD-40D4-F444-9AC6-3112DE24D56C}" vid="{BDC57D0B-C118-A940-A4C6-157D6E9A75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B457125DE66DB47A9F05D706DB1418F" ma:contentTypeVersion="15" ma:contentTypeDescription="Create a new document." ma:contentTypeScope="" ma:versionID="a2fdc0517895216b03b31fec7d037fb7">
  <xsd:schema xmlns:xsd="http://www.w3.org/2001/XMLSchema" xmlns:xs="http://www.w3.org/2001/XMLSchema" xmlns:p="http://schemas.microsoft.com/office/2006/metadata/properties" xmlns:ns2="21f04286-7754-4cd9-a55f-5b5654482064" xmlns:ns3="38b3fde2-7c77-45c1-88d8-e468b0fec1c0" targetNamespace="http://schemas.microsoft.com/office/2006/metadata/properties" ma:root="true" ma:fieldsID="d502131b900a1fc25555932c6da4cade" ns2:_="" ns3:_="">
    <xsd:import namespace="21f04286-7754-4cd9-a55f-5b5654482064"/>
    <xsd:import namespace="38b3fde2-7c77-45c1-88d8-e468b0fec1c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04286-7754-4cd9-a55f-5b56544820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b3fde2-7c77-45c1-88d8-e468b0fec1c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d65a95b3-2cf6-4233-bd43-bd8012a4b894}" ma:internalName="TaxCatchAll" ma:showField="CatchAllData" ma:web="38b3fde2-7c77-45c1-88d8-e468b0fec1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1f04286-7754-4cd9-a55f-5b5654482064">
      <Terms xmlns="http://schemas.microsoft.com/office/infopath/2007/PartnerControls"/>
    </lcf76f155ced4ddcb4097134ff3c332f>
    <TaxCatchAll xmlns="38b3fde2-7c77-45c1-88d8-e468b0fec1c0" xsi:nil="true"/>
  </documentManagement>
</p:properties>
</file>

<file path=customXml/itemProps1.xml><?xml version="1.0" encoding="utf-8"?>
<ds:datastoreItem xmlns:ds="http://schemas.openxmlformats.org/officeDocument/2006/customXml" ds:itemID="{563E00BF-D8C8-4639-9E30-52A5ADF680A6}">
  <ds:schemaRefs>
    <ds:schemaRef ds:uri="http://schemas.microsoft.com/sharepoint/v3/contenttype/forms"/>
  </ds:schemaRefs>
</ds:datastoreItem>
</file>

<file path=customXml/itemProps2.xml><?xml version="1.0" encoding="utf-8"?>
<ds:datastoreItem xmlns:ds="http://schemas.openxmlformats.org/officeDocument/2006/customXml" ds:itemID="{2C961F0C-F326-4587-83FD-56353D95AA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04286-7754-4cd9-a55f-5b5654482064"/>
    <ds:schemaRef ds:uri="38b3fde2-7c77-45c1-88d8-e468b0fec1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94DFE5-DB61-4620-AA8F-437442974CDF}">
  <ds:schemaRefs>
    <ds:schemaRef ds:uri="http://purl.org/dc/dcmitype/"/>
    <ds:schemaRef ds:uri="21f04286-7754-4cd9-a55f-5b5654482064"/>
    <ds:schemaRef ds:uri="http://schemas.openxmlformats.org/package/2006/metadata/core-properties"/>
    <ds:schemaRef ds:uri="http://www.w3.org/XML/1998/namespace"/>
    <ds:schemaRef ds:uri="http://purl.org/dc/elements/1.1/"/>
    <ds:schemaRef ds:uri="http://schemas.microsoft.com/office/2006/metadata/properties"/>
    <ds:schemaRef ds:uri="http://schemas.microsoft.com/office/2006/documentManagement/types"/>
    <ds:schemaRef ds:uri="http://schemas.microsoft.com/office/infopath/2007/PartnerControls"/>
    <ds:schemaRef ds:uri="38b3fde2-7c77-45c1-88d8-e468b0fec1c0"/>
    <ds:schemaRef ds:uri="http://purl.org/dc/terms/"/>
  </ds:schemaRefs>
</ds:datastoreItem>
</file>

<file path=docProps/app.xml><?xml version="1.0" encoding="utf-8"?>
<Properties xmlns="http://schemas.openxmlformats.org/officeDocument/2006/extended-properties" xmlns:vt="http://schemas.openxmlformats.org/officeDocument/2006/docPropsVTypes">
  <Template>MESC TEMPLATE 2023.10.13</Template>
  <TotalTime>3458</TotalTime>
  <Words>1853</Words>
  <Application>Microsoft Office PowerPoint</Application>
  <PresentationFormat>Widescreen</PresentationFormat>
  <Paragraphs>247</Paragraphs>
  <Slides>19</Slides>
  <Notes>1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4" baseType="lpstr">
      <vt:lpstr>Arial</vt:lpstr>
      <vt:lpstr>Arial,Sans-Serif</vt:lpstr>
      <vt:lpstr>Avenir Black</vt:lpstr>
      <vt:lpstr>Avenir Book</vt:lpstr>
      <vt:lpstr>Avenir Heavy</vt:lpstr>
      <vt:lpstr>Avenir Light</vt:lpstr>
      <vt:lpstr>Avenir LT Std 65 Medium</vt:lpstr>
      <vt:lpstr>Avenir Medium</vt:lpstr>
      <vt:lpstr>Calibri</vt:lpstr>
      <vt:lpstr>Figtree</vt:lpstr>
      <vt:lpstr>Segoe UI</vt:lpstr>
      <vt:lpstr>System Font Regular</vt:lpstr>
      <vt:lpstr>Trebuchet MS</vt:lpstr>
      <vt:lpstr>MESC PPT</vt:lpstr>
      <vt:lpstr>think-cell Slide</vt:lpstr>
      <vt:lpstr>PowerPoint Presentation</vt:lpstr>
      <vt:lpstr>Securing the foundation of America's Energy Future</vt:lpstr>
      <vt:lpstr>MESC is all about de-risking energy supply chains</vt:lpstr>
      <vt:lpstr>MESC operates in late-stage technology development, driving large-scale deployment of new technologies</vt:lpstr>
      <vt:lpstr>2024 MESC Goals  </vt:lpstr>
      <vt:lpstr>Manufacturing is  accelerating across  clean energy technologies</vt:lpstr>
      <vt:lpstr>U.S. battery supply chain readiness scored as “moderate” as  domestic production ramps up </vt:lpstr>
      <vt:lpstr>MESC Programs</vt:lpstr>
      <vt:lpstr>IRA 50143: Domestic Conversion Grants Program – Direct Investments</vt:lpstr>
      <vt:lpstr>IRA 50143: Domestic Conversion Grants Program – State Partnerships </vt:lpstr>
      <vt:lpstr>BIL 40521: Industrial Training and Assessment Centers – Small Supplier EV Transition Playbook</vt:lpstr>
      <vt:lpstr>Qualifying Advanced Energy Credit (48C) Overview</vt:lpstr>
      <vt:lpstr>BIL 40207: Consumer Electronics Battery Recycling, Reprocessing, and Battery Collection for State and Local Governments and Retailers</vt:lpstr>
      <vt:lpstr>BIL 40207: Battery Material Processing and Manufacturing Grants – Round 1</vt:lpstr>
      <vt:lpstr>BIL 40207: Battery Material Processing and Manufacturing Grants – Round 2</vt:lpstr>
      <vt:lpstr>MESC is working to deploy an additional $20B+ across workforce, batteries, and ESIB initiatives </vt:lpstr>
      <vt:lpstr>MESC’s  Impacts  To-Date</vt:lpstr>
      <vt:lpstr>Connect  With MESC</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ketts, Shauna (CONTR)</dc:creator>
  <cp:lastModifiedBy>Jennings, Stephanie (ME)</cp:lastModifiedBy>
  <cp:revision>38</cp:revision>
  <cp:lastPrinted>2023-08-29T00:06:47Z</cp:lastPrinted>
  <dcterms:created xsi:type="dcterms:W3CDTF">2024-03-29T19:41:39Z</dcterms:created>
  <dcterms:modified xsi:type="dcterms:W3CDTF">2024-10-23T17:1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mplianceAssetId">
    <vt:lpwstr/>
  </property>
  <property fmtid="{D5CDD505-2E9C-101B-9397-08002B2CF9AE}" pid="4" name="TriggerFlowInfo">
    <vt:lpwstr/>
  </property>
  <property fmtid="{D5CDD505-2E9C-101B-9397-08002B2CF9AE}" pid="5" name="TemplateUrl">
    <vt:lpwstr/>
  </property>
  <property fmtid="{D5CDD505-2E9C-101B-9397-08002B2CF9AE}" pid="6" name="_ExtendedDescription">
    <vt:lpwstr/>
  </property>
  <property fmtid="{D5CDD505-2E9C-101B-9397-08002B2CF9AE}" pid="7" name="xd_Signature">
    <vt:lpwstr/>
  </property>
  <property fmtid="{D5CDD505-2E9C-101B-9397-08002B2CF9AE}" pid="8" name="xd_ProgID">
    <vt:lpwstr/>
  </property>
  <property fmtid="{D5CDD505-2E9C-101B-9397-08002B2CF9AE}" pid="9" name="ContentTypeId">
    <vt:lpwstr>0x0101001B457125DE66DB47A9F05D706DB1418F</vt:lpwstr>
  </property>
  <property fmtid="{D5CDD505-2E9C-101B-9397-08002B2CF9AE}" pid="10" name="Order">
    <vt:lpwstr>171800.000000000</vt:lpwstr>
  </property>
</Properties>
</file>